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6" r:id="rId4"/>
  </p:sldMasterIdLst>
  <p:notesMasterIdLst>
    <p:notesMasterId r:id="rId7"/>
  </p:notesMasterIdLst>
  <p:sldIdLst>
    <p:sldId id="274" r:id="rId5"/>
    <p:sldId id="272" r:id="rId6"/>
  </p:sldIdLst>
  <p:sldSz cx="7772400" cy="10058400"/>
  <p:notesSz cx="7772400" cy="100584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2" pos="2160">
          <p15:clr>
            <a:srgbClr val="A4A3A4"/>
          </p15:clr>
        </p15:guide>
        <p15:guide id="3" orient="horz" pos="3168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FEA9A12-493E-BFAD-8EE9-5857FFC5382E}" name="Brill, Amanda {PEP}" initials="B{" userId="S::amanda.brill@pepsico.com::2bd049c7-bd17-4cb1-9caf-bed092b91cf4" providerId="AD"/>
  <p188:author id="{1EFE9473-465F-BA6A-A4FF-D06828FDAF87}" name="Morales, Erika {PEP}" initials="EM" userId="S::Erika.Morales@pepsico.com::279fd254-57cd-4f63-8e74-9f01550fef61" providerId="AD"/>
  <p188:author id="{C2DCFA90-92A0-3057-5C1A-F95A440B9440}" name="Lark, Vanessa {PEP}" initials="L{" userId="S::vanessa.lark@pepsico.com::a5909ae6-eb78-4812-ae7b-484d3fc6f1b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06539E"/>
    <a:srgbClr val="FBE5D5"/>
    <a:srgbClr val="F7CCAB"/>
    <a:srgbClr val="FDF2EA"/>
    <a:srgbClr val="A6E3FC"/>
    <a:srgbClr val="08A5E4"/>
    <a:srgbClr val="005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56F4B2-540A-4F47-BD35-5D0BDFB52A92}" v="3" dt="2024-12-19T17:07:22.10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4740" y="84"/>
      </p:cViewPr>
      <p:guideLst>
        <p:guide pos="2160"/>
        <p:guide orient="horz" pos="316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402138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4B62E8-7C1C-5945-8BDE-2498841DC1CA}" type="datetimeFigureOut">
              <a:rPr lang="en-US" smtClean="0"/>
              <a:t>12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74925" y="1257300"/>
            <a:ext cx="2622550" cy="3394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77875" y="4840288"/>
            <a:ext cx="6216650" cy="39608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402138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118C09-36A7-9B4B-BBB7-F24354867F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7863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18C09-36A7-9B4B-BBB7-F24354867FDA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66337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118C09-36A7-9B4B-BBB7-F24354867FDA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56083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82930" y="3118104"/>
            <a:ext cx="6606540" cy="21122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165860" y="5632704"/>
            <a:ext cx="5440680" cy="2514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6BC2AF-ED23-458F-9FC8-CAB9C1281CAE}" type="datetime1">
              <a:rPr lang="en-US" smtClean="0"/>
              <a:t>12/1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73814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F28E0F-7631-40E6-8294-E8CB970FE878}" type="datetime1">
              <a:rPr lang="en-US" smtClean="0"/>
              <a:t>12/1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9819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68">
          <p15:clr>
            <a:srgbClr val="FBAE40"/>
          </p15:clr>
        </p15:guide>
        <p15:guide id="2" pos="244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388620" y="2313432"/>
            <a:ext cx="3380994" cy="66385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002786" y="2313432"/>
            <a:ext cx="3380994" cy="66385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97A664-1C6C-4369-A89D-D7E8A68555FB}" type="datetime1">
              <a:rPr lang="en-US" smtClean="0"/>
              <a:t>12/19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26816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42C5A3-8C39-4C6A-B468-CC58D13E2A26}" type="datetime1">
              <a:rPr lang="en-US" smtClean="0"/>
              <a:t>12/19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6625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31642E-BA12-43EF-9C1E-6D0207A37E77}" type="datetime1">
              <a:rPr lang="en-US" smtClean="0"/>
              <a:t>12/19/2024</a:t>
            </a:fld>
            <a:endParaRPr lang="en-US"/>
          </a:p>
        </p:txBody>
      </p:sp>
      <p:sp>
        <p:nvSpPr>
          <p:cNvPr id="5" name="Holder 4">
            <a:extLst>
              <a:ext uri="{FF2B5EF4-FFF2-40B4-BE49-F238E27FC236}">
                <a16:creationId xmlns:a16="http://schemas.microsoft.com/office/drawing/2014/main" id="{FB8A8CFB-E2A0-478C-A3D5-9532C8E419E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7391400" y="9903042"/>
            <a:ext cx="304800" cy="138499"/>
          </a:xfrm>
        </p:spPr>
        <p:txBody>
          <a:bodyPr lIns="0" tIns="0" rIns="0" bIns="0"/>
          <a:lstStyle>
            <a:lvl1pPr algn="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8271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B7D093-7F1A-A021-D514-02F09698E6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01126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B7D093-7F1A-A021-D514-02F09698E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4500" y="368751"/>
            <a:ext cx="5255260" cy="4521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1" i="0">
                <a:solidFill>
                  <a:srgbClr val="00519B"/>
                </a:solidFill>
                <a:latin typeface="ZillaSlab-SemiBold"/>
                <a:cs typeface="ZillaSlab-SemiBold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88620" y="2313432"/>
            <a:ext cx="6995160" cy="66385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642616" y="9354312"/>
            <a:ext cx="2487168" cy="502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88620" y="9354312"/>
            <a:ext cx="1787652" cy="502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66601-6BD3-4240-B9C2-F117920CBA7D}" type="datetime1">
              <a:rPr lang="en-US" smtClean="0"/>
              <a:t>12/1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596128" y="9354312"/>
            <a:ext cx="1787652" cy="5029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5BF1168-46F7-A0D0-81DA-D75BFF817B22}"/>
              </a:ext>
            </a:extLst>
          </p:cNvPr>
          <p:cNvSpPr/>
          <p:nvPr userDrawn="1"/>
        </p:nvSpPr>
        <p:spPr>
          <a:xfrm>
            <a:off x="7924800" y="0"/>
            <a:ext cx="700087" cy="700087"/>
          </a:xfrm>
          <a:prstGeom prst="rect">
            <a:avLst/>
          </a:prstGeom>
          <a:solidFill>
            <a:srgbClr val="06539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BAFB312-89BC-F7DC-BCE0-C9E557F9D295}"/>
              </a:ext>
            </a:extLst>
          </p:cNvPr>
          <p:cNvSpPr/>
          <p:nvPr userDrawn="1"/>
        </p:nvSpPr>
        <p:spPr>
          <a:xfrm>
            <a:off x="7924800" y="901700"/>
            <a:ext cx="700087" cy="700087"/>
          </a:xfrm>
          <a:prstGeom prst="rect">
            <a:avLst/>
          </a:prstGeom>
          <a:solidFill>
            <a:srgbClr val="08A5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1ABB3410-99A9-6F6D-07BE-7485CC68492D}"/>
              </a:ext>
            </a:extLst>
          </p:cNvPr>
          <p:cNvSpPr/>
          <p:nvPr userDrawn="1"/>
        </p:nvSpPr>
        <p:spPr>
          <a:xfrm>
            <a:off x="7924800" y="1803400"/>
            <a:ext cx="700087" cy="700087"/>
          </a:xfrm>
          <a:prstGeom prst="rect">
            <a:avLst/>
          </a:prstGeom>
          <a:solidFill>
            <a:srgbClr val="002F9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541D319-EC87-78BC-9E42-350A07A7C76D}"/>
              </a:ext>
            </a:extLst>
          </p:cNvPr>
          <p:cNvSpPr/>
          <p:nvPr userDrawn="1"/>
        </p:nvSpPr>
        <p:spPr>
          <a:xfrm>
            <a:off x="7924800" y="2705100"/>
            <a:ext cx="700087" cy="700087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8749DCC-1780-627C-5B41-346D556BF968}"/>
              </a:ext>
            </a:extLst>
          </p:cNvPr>
          <p:cNvSpPr/>
          <p:nvPr userDrawn="1"/>
        </p:nvSpPr>
        <p:spPr>
          <a:xfrm>
            <a:off x="7924800" y="3606800"/>
            <a:ext cx="700087" cy="70008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751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216">
          <p15:clr>
            <a:srgbClr val="F26B43"/>
          </p15:clr>
        </p15:guide>
        <p15:guide id="2" pos="144">
          <p15:clr>
            <a:srgbClr val="F26B43"/>
          </p15:clr>
        </p15:guide>
        <p15:guide id="3" pos="4752">
          <p15:clr>
            <a:srgbClr val="F26B43"/>
          </p15:clr>
        </p15:guide>
        <p15:guide id="4" orient="horz" pos="96">
          <p15:clr>
            <a:srgbClr val="F26B43"/>
          </p15:clr>
        </p15:guide>
        <p15:guide id="5" orient="horz" pos="4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6" Type="http://schemas.openxmlformats.org/officeDocument/2006/relationships/hyperlink" Target="http://www.pepsicoschoolsource.com/" TargetMode="External"/><Relationship Id="rId11" Type="http://schemas.openxmlformats.org/officeDocument/2006/relationships/image" Target="../media/image6.svg"/><Relationship Id="rId5" Type="http://schemas.openxmlformats.org/officeDocument/2006/relationships/image" Target="../media/image1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think-cell data - do not delete" hidden="1">
            <a:extLst>
              <a:ext uri="{FF2B5EF4-FFF2-40B4-BE49-F238E27FC236}">
                <a16:creationId xmlns:a16="http://schemas.microsoft.com/office/drawing/2014/main" id="{8944A60B-E096-CB8F-1A08-FF95D68E49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1220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44A60B-E096-CB8F-1A08-FF95D68E49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Rectangle 135">
            <a:extLst>
              <a:ext uri="{FF2B5EF4-FFF2-40B4-BE49-F238E27FC236}">
                <a16:creationId xmlns:a16="http://schemas.microsoft.com/office/drawing/2014/main" id="{8FDEA44A-51A0-A1B1-4D3C-AAEAC524F3CF}"/>
              </a:ext>
            </a:extLst>
          </p:cNvPr>
          <p:cNvSpPr>
            <a:spLocks/>
          </p:cNvSpPr>
          <p:nvPr/>
        </p:nvSpPr>
        <p:spPr>
          <a:xfrm>
            <a:off x="0" y="5468135"/>
            <a:ext cx="7772398" cy="3361540"/>
          </a:xfrm>
          <a:prstGeom prst="rect">
            <a:avLst/>
          </a:prstGeom>
          <a:solidFill>
            <a:srgbClr val="ED7D31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schemeClr val="lt1"/>
              </a:solidFill>
              <a:ea typeface="+mn-ea"/>
              <a:cs typeface="+mn-cs"/>
            </a:endParaRP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29529A7-1D71-3A94-4FFE-F40FB9DD6871}"/>
              </a:ext>
            </a:extLst>
          </p:cNvPr>
          <p:cNvSpPr txBox="1">
            <a:spLocks/>
          </p:cNvSpPr>
          <p:nvPr/>
        </p:nvSpPr>
        <p:spPr>
          <a:xfrm>
            <a:off x="228600" y="6764080"/>
            <a:ext cx="7315200" cy="2769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75589">
              <a:lnSpc>
                <a:spcPct val="100000"/>
              </a:lnSpc>
              <a:spcBef>
                <a:spcPts val="660"/>
              </a:spcBef>
              <a:buNone/>
            </a:pPr>
            <a:r>
              <a:rPr lang="en-US" b="1" i="1" dirty="0">
                <a:solidFill>
                  <a:srgbClr val="ED7D31"/>
                </a:solidFill>
                <a:latin typeface="+mn-lt"/>
              </a:rPr>
              <a:t>Schools who participate in A La Carte programs save by:</a:t>
            </a:r>
            <a:endParaRPr lang="en-US" b="1" dirty="0">
              <a:solidFill>
                <a:srgbClr val="ED7D31"/>
              </a:solidFill>
              <a:latin typeface="+mn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2D6724-31FC-C762-40E6-63B2B4A135F1}"/>
              </a:ext>
            </a:extLst>
          </p:cNvPr>
          <p:cNvSpPr>
            <a:spLocks/>
          </p:cNvSpPr>
          <p:nvPr/>
        </p:nvSpPr>
        <p:spPr>
          <a:xfrm>
            <a:off x="0" y="2202095"/>
            <a:ext cx="7772400" cy="3266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A1D8DA8-C35F-9F07-63C1-36A220CC4332}"/>
              </a:ext>
            </a:extLst>
          </p:cNvPr>
          <p:cNvSpPr/>
          <p:nvPr/>
        </p:nvSpPr>
        <p:spPr>
          <a:xfrm>
            <a:off x="0" y="172218"/>
            <a:ext cx="7772400" cy="1377691"/>
          </a:xfrm>
          <a:prstGeom prst="rect">
            <a:avLst/>
          </a:prstGeom>
          <a:solidFill>
            <a:srgbClr val="D7EAF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E7C0195-469D-D6B6-3C8A-F4FC61640794}"/>
              </a:ext>
            </a:extLst>
          </p:cNvPr>
          <p:cNvSpPr/>
          <p:nvPr/>
        </p:nvSpPr>
        <p:spPr>
          <a:xfrm>
            <a:off x="0" y="0"/>
            <a:ext cx="7772400" cy="1377687"/>
          </a:xfrm>
          <a:custGeom>
            <a:avLst/>
            <a:gdLst>
              <a:gd name="connsiteX0" fmla="*/ 0 w 7772400"/>
              <a:gd name="connsiteY0" fmla="*/ 0 h 1377687"/>
              <a:gd name="connsiteX1" fmla="*/ 7772400 w 7772400"/>
              <a:gd name="connsiteY1" fmla="*/ 0 h 1377687"/>
              <a:gd name="connsiteX2" fmla="*/ 7772400 w 7772400"/>
              <a:gd name="connsiteY2" fmla="*/ 997289 h 1377687"/>
              <a:gd name="connsiteX3" fmla="*/ 7771901 w 7772400"/>
              <a:gd name="connsiteY3" fmla="*/ 997407 h 1377687"/>
              <a:gd name="connsiteX4" fmla="*/ 3886200 w 7772400"/>
              <a:gd name="connsiteY4" fmla="*/ 1377687 h 1377687"/>
              <a:gd name="connsiteX5" fmla="*/ 500 w 7772400"/>
              <a:gd name="connsiteY5" fmla="*/ 997407 h 1377687"/>
              <a:gd name="connsiteX6" fmla="*/ 0 w 7772400"/>
              <a:gd name="connsiteY6" fmla="*/ 997289 h 1377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400" h="1377687">
                <a:moveTo>
                  <a:pt x="0" y="0"/>
                </a:moveTo>
                <a:lnTo>
                  <a:pt x="7772400" y="0"/>
                </a:lnTo>
                <a:lnTo>
                  <a:pt x="7772400" y="997289"/>
                </a:lnTo>
                <a:lnTo>
                  <a:pt x="7771901" y="997407"/>
                </a:lnTo>
                <a:cubicBezTo>
                  <a:pt x="6715957" y="1234976"/>
                  <a:pt x="5362212" y="1377687"/>
                  <a:pt x="3886200" y="1377687"/>
                </a:cubicBezTo>
                <a:cubicBezTo>
                  <a:pt x="2410188" y="1377687"/>
                  <a:pt x="1056443" y="1234976"/>
                  <a:pt x="500" y="997407"/>
                </a:cubicBezTo>
                <a:lnTo>
                  <a:pt x="0" y="997289"/>
                </a:lnTo>
                <a:close/>
              </a:path>
            </a:pathLst>
          </a:custGeom>
          <a:solidFill>
            <a:srgbClr val="06539E"/>
          </a:solidFill>
          <a:ln w="57150">
            <a:noFill/>
          </a:ln>
        </p:spPr>
        <p:txBody>
          <a:bodyPr wrap="square" rtlCol="0" anchor="ctr">
            <a:noAutofit/>
          </a:bodyPr>
          <a:lstStyle/>
          <a:p>
            <a:pPr defTabSz="1219170">
              <a:spcAft>
                <a:spcPts val="400"/>
              </a:spcAft>
              <a:buClr>
                <a:srgbClr val="444444"/>
              </a:buClr>
            </a:pPr>
            <a:endParaRPr lang="en-GB" sz="1050" b="1" kern="0">
              <a:solidFill>
                <a:srgbClr val="444444"/>
              </a:solidFill>
              <a:latin typeface="+mn-lt"/>
              <a:cs typeface="Arial"/>
              <a:sym typeface="Anton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0D3FA49-A836-483F-D3B3-63394E426CC6}"/>
              </a:ext>
            </a:extLst>
          </p:cNvPr>
          <p:cNvSpPr>
            <a:spLocks/>
          </p:cNvSpPr>
          <p:nvPr/>
        </p:nvSpPr>
        <p:spPr>
          <a:xfrm>
            <a:off x="0" y="8829675"/>
            <a:ext cx="7772400" cy="10565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7190" rtl="0">
              <a:lnSpc>
                <a:spcPct val="110000"/>
              </a:lnSpc>
            </a:pPr>
            <a:r>
              <a:rPr lang="en-US" sz="1600" b="1" kern="1200" dirty="0">
                <a:solidFill>
                  <a:srgbClr val="06539E"/>
                </a:solidFill>
                <a:ea typeface="+mn-ea"/>
                <a:cs typeface="+mn-cs"/>
              </a:rPr>
              <a:t>Looking to launch an A La Carte program at your school or district?</a:t>
            </a:r>
            <a:br>
              <a:rPr lang="en-US" sz="1600" b="1" kern="1200" dirty="0">
                <a:solidFill>
                  <a:srgbClr val="06539E"/>
                </a:solidFill>
                <a:ea typeface="+mn-ea"/>
                <a:cs typeface="+mn-cs"/>
              </a:rPr>
            </a:br>
            <a:r>
              <a:rPr lang="en-US" sz="1600" b="1" kern="1200" dirty="0">
                <a:solidFill>
                  <a:srgbClr val="06539E"/>
                </a:solidFill>
                <a:ea typeface="+mn-ea"/>
                <a:cs typeface="+mn-cs"/>
              </a:rPr>
              <a:t>Contact your PepsiCo Sales Representative or reach out to us a</a:t>
            </a:r>
            <a:br>
              <a:rPr lang="en-US" sz="1600" b="1" kern="1200" dirty="0">
                <a:solidFill>
                  <a:srgbClr val="06539E"/>
                </a:solidFill>
                <a:ea typeface="+mn-ea"/>
                <a:cs typeface="+mn-cs"/>
              </a:rPr>
            </a:br>
            <a:r>
              <a:rPr lang="en-US" sz="1600" b="1" kern="1200" dirty="0">
                <a:solidFill>
                  <a:srgbClr val="06539E"/>
                </a:solidFill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PepsiCoSchoolSource.com</a:t>
            </a:r>
            <a:r>
              <a:rPr lang="en-US" sz="1600" b="1" kern="1200" dirty="0">
                <a:solidFill>
                  <a:srgbClr val="06539E"/>
                </a:solidFill>
                <a:ea typeface="+mn-ea"/>
                <a:cs typeface="+mn-cs"/>
              </a:rPr>
              <a:t> to get started</a:t>
            </a:r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8BDF2925-9184-2256-548A-540B84AC8B97}"/>
              </a:ext>
            </a:extLst>
          </p:cNvPr>
          <p:cNvSpPr txBox="1"/>
          <p:nvPr/>
        </p:nvSpPr>
        <p:spPr>
          <a:xfrm>
            <a:off x="-1" y="360010"/>
            <a:ext cx="6350001" cy="505267"/>
          </a:xfrm>
          <a:prstGeom prst="rect">
            <a:avLst/>
          </a:prstGeom>
        </p:spPr>
        <p:txBody>
          <a:bodyPr vert="horz" wrap="square" lIns="0" tIns="12700" rIns="0" bIns="0" rtlCol="0" anchor="ctr">
            <a:noAutofit/>
          </a:bodyPr>
          <a:lstStyle/>
          <a:p>
            <a:pPr marL="1270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ZillaSlab-SemiBold"/>
              </a:rPr>
              <a:t>Drive Profit with A La Cart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24EFAC6-B18A-356C-C276-B885F075FAD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3" r="103" b="30673"/>
          <a:stretch/>
        </p:blipFill>
        <p:spPr>
          <a:xfrm>
            <a:off x="0" y="9886182"/>
            <a:ext cx="7772400" cy="172218"/>
          </a:xfrm>
          <a:custGeom>
            <a:avLst/>
            <a:gdLst>
              <a:gd name="connsiteX0" fmla="*/ 0 w 7772400"/>
              <a:gd name="connsiteY0" fmla="*/ 0 h 172218"/>
              <a:gd name="connsiteX1" fmla="*/ 7772400 w 7772400"/>
              <a:gd name="connsiteY1" fmla="*/ 0 h 172218"/>
              <a:gd name="connsiteX2" fmla="*/ 7772400 w 7772400"/>
              <a:gd name="connsiteY2" fmla="*/ 172218 h 172218"/>
              <a:gd name="connsiteX3" fmla="*/ 0 w 7772400"/>
              <a:gd name="connsiteY3" fmla="*/ 172218 h 172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2218">
                <a:moveTo>
                  <a:pt x="0" y="0"/>
                </a:moveTo>
                <a:lnTo>
                  <a:pt x="7772400" y="0"/>
                </a:lnTo>
                <a:lnTo>
                  <a:pt x="7772400" y="172218"/>
                </a:lnTo>
                <a:lnTo>
                  <a:pt x="0" y="172218"/>
                </a:lnTo>
                <a:close/>
              </a:path>
            </a:pathLst>
          </a:cu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1E12562-70DD-2D2B-E169-B77AB9D1268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3" r="103" b="30673"/>
          <a:stretch/>
        </p:blipFill>
        <p:spPr>
          <a:xfrm>
            <a:off x="0" y="0"/>
            <a:ext cx="7772400" cy="172218"/>
          </a:xfrm>
          <a:custGeom>
            <a:avLst/>
            <a:gdLst>
              <a:gd name="connsiteX0" fmla="*/ 0 w 7772400"/>
              <a:gd name="connsiteY0" fmla="*/ 0 h 172218"/>
              <a:gd name="connsiteX1" fmla="*/ 7772400 w 7772400"/>
              <a:gd name="connsiteY1" fmla="*/ 0 h 172218"/>
              <a:gd name="connsiteX2" fmla="*/ 7772400 w 7772400"/>
              <a:gd name="connsiteY2" fmla="*/ 172218 h 172218"/>
              <a:gd name="connsiteX3" fmla="*/ 0 w 7772400"/>
              <a:gd name="connsiteY3" fmla="*/ 172218 h 172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2218">
                <a:moveTo>
                  <a:pt x="0" y="0"/>
                </a:moveTo>
                <a:lnTo>
                  <a:pt x="7772400" y="0"/>
                </a:lnTo>
                <a:lnTo>
                  <a:pt x="7772400" y="172218"/>
                </a:lnTo>
                <a:lnTo>
                  <a:pt x="0" y="172218"/>
                </a:lnTo>
                <a:close/>
              </a:path>
            </a:pathLst>
          </a:cu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B7BC0329-F9E4-A5A5-C992-569CE42FAD9D}"/>
              </a:ext>
            </a:extLst>
          </p:cNvPr>
          <p:cNvSpPr/>
          <p:nvPr/>
        </p:nvSpPr>
        <p:spPr>
          <a:xfrm>
            <a:off x="-1" y="1463430"/>
            <a:ext cx="7772399" cy="738664"/>
          </a:xfrm>
          <a:prstGeom prst="rect">
            <a:avLst/>
          </a:prstGeom>
          <a:solidFill>
            <a:srgbClr val="08A5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28600" tIns="45720" rIns="228600" bIns="45720" rtlCol="0" anchor="ctr">
            <a:noAutofit/>
          </a:bodyPr>
          <a:lstStyle/>
          <a:p>
            <a:pPr algn="l"/>
            <a:r>
              <a:rPr lang="en-US" b="1" i="1" dirty="0"/>
              <a:t>Adding A La Carte to your food &amp; beverage program is a profitable way to serve additional students through the day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B3F7F9B-912C-2652-B70F-40CD83D0623F}"/>
              </a:ext>
            </a:extLst>
          </p:cNvPr>
          <p:cNvSpPr/>
          <p:nvPr/>
        </p:nvSpPr>
        <p:spPr>
          <a:xfrm>
            <a:off x="0" y="997290"/>
            <a:ext cx="7772400" cy="380398"/>
          </a:xfrm>
          <a:custGeom>
            <a:avLst/>
            <a:gdLst>
              <a:gd name="connsiteX0" fmla="*/ 0 w 7772400"/>
              <a:gd name="connsiteY0" fmla="*/ 0 h 1377687"/>
              <a:gd name="connsiteX1" fmla="*/ 7772400 w 7772400"/>
              <a:gd name="connsiteY1" fmla="*/ 0 h 1377687"/>
              <a:gd name="connsiteX2" fmla="*/ 7772400 w 7772400"/>
              <a:gd name="connsiteY2" fmla="*/ 997289 h 1377687"/>
              <a:gd name="connsiteX3" fmla="*/ 7771901 w 7772400"/>
              <a:gd name="connsiteY3" fmla="*/ 997407 h 1377687"/>
              <a:gd name="connsiteX4" fmla="*/ 3886200 w 7772400"/>
              <a:gd name="connsiteY4" fmla="*/ 1377687 h 1377687"/>
              <a:gd name="connsiteX5" fmla="*/ 500 w 7772400"/>
              <a:gd name="connsiteY5" fmla="*/ 997407 h 1377687"/>
              <a:gd name="connsiteX6" fmla="*/ 0 w 7772400"/>
              <a:gd name="connsiteY6" fmla="*/ 997289 h 1377687"/>
              <a:gd name="connsiteX0" fmla="*/ 7772400 w 7863840"/>
              <a:gd name="connsiteY0" fmla="*/ 0 h 1377687"/>
              <a:gd name="connsiteX1" fmla="*/ 7772400 w 7863840"/>
              <a:gd name="connsiteY1" fmla="*/ 997289 h 1377687"/>
              <a:gd name="connsiteX2" fmla="*/ 7771901 w 7863840"/>
              <a:gd name="connsiteY2" fmla="*/ 997407 h 1377687"/>
              <a:gd name="connsiteX3" fmla="*/ 3886200 w 7863840"/>
              <a:gd name="connsiteY3" fmla="*/ 1377687 h 1377687"/>
              <a:gd name="connsiteX4" fmla="*/ 500 w 7863840"/>
              <a:gd name="connsiteY4" fmla="*/ 997407 h 1377687"/>
              <a:gd name="connsiteX5" fmla="*/ 0 w 7863840"/>
              <a:gd name="connsiteY5" fmla="*/ 997289 h 1377687"/>
              <a:gd name="connsiteX6" fmla="*/ 0 w 7863840"/>
              <a:gd name="connsiteY6" fmla="*/ 0 h 1377687"/>
              <a:gd name="connsiteX7" fmla="*/ 7863840 w 7863840"/>
              <a:gd name="connsiteY7" fmla="*/ 91440 h 1377687"/>
              <a:gd name="connsiteX0" fmla="*/ 7772400 w 7772400"/>
              <a:gd name="connsiteY0" fmla="*/ 0 h 1377687"/>
              <a:gd name="connsiteX1" fmla="*/ 7772400 w 7772400"/>
              <a:gd name="connsiteY1" fmla="*/ 997289 h 1377687"/>
              <a:gd name="connsiteX2" fmla="*/ 7771901 w 7772400"/>
              <a:gd name="connsiteY2" fmla="*/ 997407 h 1377687"/>
              <a:gd name="connsiteX3" fmla="*/ 3886200 w 7772400"/>
              <a:gd name="connsiteY3" fmla="*/ 1377687 h 1377687"/>
              <a:gd name="connsiteX4" fmla="*/ 500 w 7772400"/>
              <a:gd name="connsiteY4" fmla="*/ 997407 h 1377687"/>
              <a:gd name="connsiteX5" fmla="*/ 0 w 7772400"/>
              <a:gd name="connsiteY5" fmla="*/ 997289 h 1377687"/>
              <a:gd name="connsiteX6" fmla="*/ 0 w 7772400"/>
              <a:gd name="connsiteY6" fmla="*/ 0 h 1377687"/>
              <a:gd name="connsiteX0" fmla="*/ 7772400 w 7772400"/>
              <a:gd name="connsiteY0" fmla="*/ 997289 h 1377687"/>
              <a:gd name="connsiteX1" fmla="*/ 7771901 w 7772400"/>
              <a:gd name="connsiteY1" fmla="*/ 997407 h 1377687"/>
              <a:gd name="connsiteX2" fmla="*/ 3886200 w 7772400"/>
              <a:gd name="connsiteY2" fmla="*/ 1377687 h 1377687"/>
              <a:gd name="connsiteX3" fmla="*/ 500 w 7772400"/>
              <a:gd name="connsiteY3" fmla="*/ 997407 h 1377687"/>
              <a:gd name="connsiteX4" fmla="*/ 0 w 7772400"/>
              <a:gd name="connsiteY4" fmla="*/ 997289 h 1377687"/>
              <a:gd name="connsiteX5" fmla="*/ 0 w 7772400"/>
              <a:gd name="connsiteY5" fmla="*/ 0 h 1377687"/>
              <a:gd name="connsiteX0" fmla="*/ 7772400 w 7772400"/>
              <a:gd name="connsiteY0" fmla="*/ 0 h 380398"/>
              <a:gd name="connsiteX1" fmla="*/ 7771901 w 7772400"/>
              <a:gd name="connsiteY1" fmla="*/ 118 h 380398"/>
              <a:gd name="connsiteX2" fmla="*/ 3886200 w 7772400"/>
              <a:gd name="connsiteY2" fmla="*/ 380398 h 380398"/>
              <a:gd name="connsiteX3" fmla="*/ 500 w 7772400"/>
              <a:gd name="connsiteY3" fmla="*/ 118 h 380398"/>
              <a:gd name="connsiteX4" fmla="*/ 0 w 7772400"/>
              <a:gd name="connsiteY4" fmla="*/ 0 h 380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72400" h="380398">
                <a:moveTo>
                  <a:pt x="7772400" y="0"/>
                </a:moveTo>
                <a:lnTo>
                  <a:pt x="7771901" y="118"/>
                </a:lnTo>
                <a:cubicBezTo>
                  <a:pt x="6715957" y="237687"/>
                  <a:pt x="5362212" y="380398"/>
                  <a:pt x="3886200" y="380398"/>
                </a:cubicBezTo>
                <a:cubicBezTo>
                  <a:pt x="2410188" y="380398"/>
                  <a:pt x="1056443" y="237687"/>
                  <a:pt x="500" y="118"/>
                </a:cubicBezTo>
                <a:lnTo>
                  <a:pt x="0" y="0"/>
                </a:lnTo>
              </a:path>
            </a:pathLst>
          </a:custGeom>
          <a:noFill/>
          <a:ln w="19050">
            <a:solidFill>
              <a:srgbClr val="ED7D31"/>
            </a:solidFill>
          </a:ln>
        </p:spPr>
        <p:txBody>
          <a:bodyPr wrap="square" rtlCol="0" anchor="ctr">
            <a:noAutofit/>
          </a:bodyPr>
          <a:lstStyle/>
          <a:p>
            <a:pPr defTabSz="1219170">
              <a:spcAft>
                <a:spcPts val="400"/>
              </a:spcAft>
              <a:buClr>
                <a:srgbClr val="444444"/>
              </a:buClr>
            </a:pPr>
            <a:endParaRPr lang="en-GB" sz="1050" b="1">
              <a:solidFill>
                <a:srgbClr val="444444"/>
              </a:solidFill>
              <a:latin typeface="+mn-lt"/>
              <a:cs typeface="Arial"/>
              <a:sym typeface="Anton"/>
            </a:endParaRPr>
          </a:p>
        </p:txBody>
      </p:sp>
      <p:pic>
        <p:nvPicPr>
          <p:cNvPr id="120" name="Picture 119" descr="Text&#10;&#10;Description automatically generated with medium confidence">
            <a:extLst>
              <a:ext uri="{FF2B5EF4-FFF2-40B4-BE49-F238E27FC236}">
                <a16:creationId xmlns:a16="http://schemas.microsoft.com/office/drawing/2014/main" id="{C0C7E4CC-6040-C12F-381E-7E42AE137CA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43563" y="239973"/>
            <a:ext cx="1627047" cy="616742"/>
          </a:xfrm>
          <a:prstGeom prst="rect">
            <a:avLst/>
          </a:prstGeom>
        </p:spPr>
      </p:pic>
      <p:pic>
        <p:nvPicPr>
          <p:cNvPr id="7" name="Picture 6" descr="A picture containing clothing, person, soft drink, text&#10;&#10;Description automatically generated">
            <a:extLst>
              <a:ext uri="{FF2B5EF4-FFF2-40B4-BE49-F238E27FC236}">
                <a16:creationId xmlns:a16="http://schemas.microsoft.com/office/drawing/2014/main" id="{2DA5000C-A506-D574-2932-26410C6D87B5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05987" y="2308081"/>
            <a:ext cx="7560428" cy="220941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B57D784-7C5D-C5AD-6D8F-7D3C8F7E23C6}"/>
              </a:ext>
            </a:extLst>
          </p:cNvPr>
          <p:cNvSpPr txBox="1">
            <a:spLocks/>
          </p:cNvSpPr>
          <p:nvPr/>
        </p:nvSpPr>
        <p:spPr>
          <a:xfrm>
            <a:off x="228600" y="4623482"/>
            <a:ext cx="7315200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 defTabSz="377190" rtl="0"/>
            <a:r>
              <a: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udents are seeking products from their favorite brands at school and our</a:t>
            </a:r>
            <a:br>
              <a: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K-12 portfolio helps bring the excitement of those brands into products that meet USDA guidelines</a:t>
            </a:r>
          </a:p>
        </p:txBody>
      </p:sp>
      <p:sp>
        <p:nvSpPr>
          <p:cNvPr id="126" name="Rectangle: Rounded Corners 125">
            <a:extLst>
              <a:ext uri="{FF2B5EF4-FFF2-40B4-BE49-F238E27FC236}">
                <a16:creationId xmlns:a16="http://schemas.microsoft.com/office/drawing/2014/main" id="{45905412-4DFA-E499-ABCB-44EE5E9A643A}"/>
              </a:ext>
            </a:extLst>
          </p:cNvPr>
          <p:cNvSpPr>
            <a:spLocks/>
          </p:cNvSpPr>
          <p:nvPr/>
        </p:nvSpPr>
        <p:spPr>
          <a:xfrm>
            <a:off x="152400" y="5620536"/>
            <a:ext cx="7467600" cy="1013182"/>
          </a:xfrm>
          <a:prstGeom prst="roundRect">
            <a:avLst/>
          </a:prstGeom>
          <a:solidFill>
            <a:srgbClr val="06539E"/>
          </a:solidFill>
          <a:ln>
            <a:solidFill>
              <a:schemeClr val="bg1"/>
            </a:solidFill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Filling one shelf of your Frito Lay rack daily is equivalent to an incremental $5,000 in annual sales!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4B79002E-C706-2BCD-B6BF-5A94579999BD}"/>
              </a:ext>
            </a:extLst>
          </p:cNvPr>
          <p:cNvGrpSpPr/>
          <p:nvPr/>
        </p:nvGrpSpPr>
        <p:grpSpPr>
          <a:xfrm>
            <a:off x="228600" y="7171441"/>
            <a:ext cx="666750" cy="666750"/>
            <a:chOff x="-950118" y="6567790"/>
            <a:chExt cx="914400" cy="914400"/>
          </a:xfrm>
        </p:grpSpPr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A41DE965-FFEF-6627-8A79-AC1FFD312918}"/>
                </a:ext>
              </a:extLst>
            </p:cNvPr>
            <p:cNvSpPr/>
            <p:nvPr/>
          </p:nvSpPr>
          <p:spPr>
            <a:xfrm>
              <a:off x="-950118" y="6567790"/>
              <a:ext cx="914400" cy="914400"/>
            </a:xfrm>
            <a:prstGeom prst="ellipse">
              <a:avLst/>
            </a:prstGeom>
            <a:solidFill>
              <a:srgbClr val="FBE5D5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5" name="Oval 134">
              <a:extLst>
                <a:ext uri="{FF2B5EF4-FFF2-40B4-BE49-F238E27FC236}">
                  <a16:creationId xmlns:a16="http://schemas.microsoft.com/office/drawing/2014/main" id="{252A8C2E-E1A5-DD3F-C63A-AD5584ED7D42}"/>
                </a:ext>
              </a:extLst>
            </p:cNvPr>
            <p:cNvSpPr/>
            <p:nvPr/>
          </p:nvSpPr>
          <p:spPr>
            <a:xfrm>
              <a:off x="-895349" y="6622559"/>
              <a:ext cx="804860" cy="8048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BA90A1F3-2DA2-C6B1-E554-F5CB2E4253D6}"/>
              </a:ext>
            </a:extLst>
          </p:cNvPr>
          <p:cNvGrpSpPr/>
          <p:nvPr/>
        </p:nvGrpSpPr>
        <p:grpSpPr>
          <a:xfrm>
            <a:off x="228600" y="8008086"/>
            <a:ext cx="666750" cy="666750"/>
            <a:chOff x="-950118" y="6567790"/>
            <a:chExt cx="914400" cy="914400"/>
          </a:xfrm>
        </p:grpSpPr>
        <p:sp>
          <p:nvSpPr>
            <p:cNvPr id="140" name="Oval 139">
              <a:extLst>
                <a:ext uri="{FF2B5EF4-FFF2-40B4-BE49-F238E27FC236}">
                  <a16:creationId xmlns:a16="http://schemas.microsoft.com/office/drawing/2014/main" id="{6848346C-6E57-DFD2-4DB6-9A61D7408D2A}"/>
                </a:ext>
              </a:extLst>
            </p:cNvPr>
            <p:cNvSpPr/>
            <p:nvPr/>
          </p:nvSpPr>
          <p:spPr>
            <a:xfrm>
              <a:off x="-950118" y="6567790"/>
              <a:ext cx="914400" cy="914400"/>
            </a:xfrm>
            <a:prstGeom prst="ellipse">
              <a:avLst/>
            </a:prstGeom>
            <a:solidFill>
              <a:srgbClr val="FBE5D5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id="{3E8C24EB-DB09-6ECD-B187-621CA803A390}"/>
                </a:ext>
              </a:extLst>
            </p:cNvPr>
            <p:cNvSpPr/>
            <p:nvPr/>
          </p:nvSpPr>
          <p:spPr>
            <a:xfrm>
              <a:off x="-895348" y="6622560"/>
              <a:ext cx="804860" cy="80486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4" name="TextBox 143">
            <a:extLst>
              <a:ext uri="{FF2B5EF4-FFF2-40B4-BE49-F238E27FC236}">
                <a16:creationId xmlns:a16="http://schemas.microsoft.com/office/drawing/2014/main" id="{3326A7C2-D0A7-B665-FA52-1154B8B80009}"/>
              </a:ext>
            </a:extLst>
          </p:cNvPr>
          <p:cNvSpPr txBox="1">
            <a:spLocks/>
          </p:cNvSpPr>
          <p:nvPr/>
        </p:nvSpPr>
        <p:spPr>
          <a:xfrm>
            <a:off x="971550" y="7181651"/>
            <a:ext cx="6648450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defTabSz="375589">
              <a:lnSpc>
                <a:spcPct val="100000"/>
              </a:lnSpc>
              <a:spcBef>
                <a:spcPts val="660"/>
              </a:spcBef>
            </a:pPr>
            <a:r>
              <a:rPr lang="en-US" dirty="0">
                <a:solidFill>
                  <a:schemeClr val="tx1"/>
                </a:solidFill>
                <a:latin typeface="+mn-lt"/>
              </a:rPr>
              <a:t>Reinvesting A La Carte sales into an enhanced menu program to drive meal participation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583ACD8A-88DB-369F-80B8-FCDA05EF3F6D}"/>
              </a:ext>
            </a:extLst>
          </p:cNvPr>
          <p:cNvSpPr txBox="1">
            <a:spLocks/>
          </p:cNvSpPr>
          <p:nvPr/>
        </p:nvSpPr>
        <p:spPr>
          <a:xfrm>
            <a:off x="971550" y="8156795"/>
            <a:ext cx="664845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168910" indent="-168910" defTabSz="375589">
              <a:lnSpc>
                <a:spcPct val="100000"/>
              </a:lnSpc>
              <a:spcBef>
                <a:spcPts val="660"/>
              </a:spcBef>
            </a:pPr>
            <a:r>
              <a:rPr lang="en-US" dirty="0">
                <a:solidFill>
                  <a:schemeClr val="tx1"/>
                </a:solidFill>
                <a:latin typeface="+mn-lt"/>
              </a:rPr>
              <a:t>Using profits to staff open roles</a:t>
            </a:r>
          </a:p>
        </p:txBody>
      </p:sp>
      <p:pic>
        <p:nvPicPr>
          <p:cNvPr id="148" name="Graphic 147">
            <a:extLst>
              <a:ext uri="{FF2B5EF4-FFF2-40B4-BE49-F238E27FC236}">
                <a16:creationId xmlns:a16="http://schemas.microsoft.com/office/drawing/2014/main" id="{74EF1C5D-DC37-9D6C-1C03-27236CFC938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4651" y="7317493"/>
            <a:ext cx="374650" cy="374648"/>
          </a:xfrm>
          <a:prstGeom prst="rect">
            <a:avLst/>
          </a:prstGeom>
        </p:spPr>
      </p:pic>
      <p:pic>
        <p:nvPicPr>
          <p:cNvPr id="150" name="Graphic 149">
            <a:extLst>
              <a:ext uri="{FF2B5EF4-FFF2-40B4-BE49-F238E27FC236}">
                <a16:creationId xmlns:a16="http://schemas.microsoft.com/office/drawing/2014/main" id="{23F3C7F5-D286-668A-8FB5-5055458C594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58473" y="8137959"/>
            <a:ext cx="407005" cy="40700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AE0CF6-7859-E665-5511-C2220021B42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chemeClr val="bg1"/>
                </a:solidFill>
              </a:rPr>
              <a:pPr/>
              <a:t>1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950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0465ED06-7D83-D4DB-FB25-BC47B3F69C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3098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65ED06-7D83-D4DB-FB25-BC47B3F69C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>
            <a:extLst>
              <a:ext uri="{FF2B5EF4-FFF2-40B4-BE49-F238E27FC236}">
                <a16:creationId xmlns:a16="http://schemas.microsoft.com/office/drawing/2014/main" id="{2BCEC4E2-C824-00C2-3A61-6E13EF01ED24}"/>
              </a:ext>
            </a:extLst>
          </p:cNvPr>
          <p:cNvSpPr>
            <a:spLocks/>
          </p:cNvSpPr>
          <p:nvPr/>
        </p:nvSpPr>
        <p:spPr>
          <a:xfrm>
            <a:off x="0" y="3795712"/>
            <a:ext cx="7772400" cy="60904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B4BEBE-68BE-71E3-50C0-61ABF60DA211}"/>
              </a:ext>
            </a:extLst>
          </p:cNvPr>
          <p:cNvSpPr>
            <a:spLocks/>
          </p:cNvSpPr>
          <p:nvPr/>
        </p:nvSpPr>
        <p:spPr>
          <a:xfrm>
            <a:off x="0" y="172218"/>
            <a:ext cx="7772400" cy="3561582"/>
          </a:xfrm>
          <a:prstGeom prst="rect">
            <a:avLst/>
          </a:prstGeom>
          <a:solidFill>
            <a:srgbClr val="D7EAFD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A9E7ED-B18D-C401-2BF3-23A7E7E4EEA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3" r="103" b="30673"/>
          <a:stretch/>
        </p:blipFill>
        <p:spPr>
          <a:xfrm>
            <a:off x="0" y="9886182"/>
            <a:ext cx="7772400" cy="172218"/>
          </a:xfrm>
          <a:custGeom>
            <a:avLst/>
            <a:gdLst>
              <a:gd name="connsiteX0" fmla="*/ 0 w 7772400"/>
              <a:gd name="connsiteY0" fmla="*/ 0 h 172218"/>
              <a:gd name="connsiteX1" fmla="*/ 7772400 w 7772400"/>
              <a:gd name="connsiteY1" fmla="*/ 0 h 172218"/>
              <a:gd name="connsiteX2" fmla="*/ 7772400 w 7772400"/>
              <a:gd name="connsiteY2" fmla="*/ 172218 h 172218"/>
              <a:gd name="connsiteX3" fmla="*/ 0 w 7772400"/>
              <a:gd name="connsiteY3" fmla="*/ 172218 h 172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2218">
                <a:moveTo>
                  <a:pt x="0" y="0"/>
                </a:moveTo>
                <a:lnTo>
                  <a:pt x="7772400" y="0"/>
                </a:lnTo>
                <a:lnTo>
                  <a:pt x="7772400" y="172218"/>
                </a:lnTo>
                <a:lnTo>
                  <a:pt x="0" y="172218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3F847A2-843B-CEB3-85D9-4DD90FC928B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3" r="103" b="30673"/>
          <a:stretch/>
        </p:blipFill>
        <p:spPr>
          <a:xfrm>
            <a:off x="0" y="0"/>
            <a:ext cx="7772400" cy="172218"/>
          </a:xfrm>
          <a:custGeom>
            <a:avLst/>
            <a:gdLst>
              <a:gd name="connsiteX0" fmla="*/ 0 w 7772400"/>
              <a:gd name="connsiteY0" fmla="*/ 0 h 172218"/>
              <a:gd name="connsiteX1" fmla="*/ 7772400 w 7772400"/>
              <a:gd name="connsiteY1" fmla="*/ 0 h 172218"/>
              <a:gd name="connsiteX2" fmla="*/ 7772400 w 7772400"/>
              <a:gd name="connsiteY2" fmla="*/ 172218 h 172218"/>
              <a:gd name="connsiteX3" fmla="*/ 0 w 7772400"/>
              <a:gd name="connsiteY3" fmla="*/ 172218 h 172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72400" h="172218">
                <a:moveTo>
                  <a:pt x="0" y="0"/>
                </a:moveTo>
                <a:lnTo>
                  <a:pt x="7772400" y="0"/>
                </a:lnTo>
                <a:lnTo>
                  <a:pt x="7772400" y="172218"/>
                </a:lnTo>
                <a:lnTo>
                  <a:pt x="0" y="172218"/>
                </a:lnTo>
                <a:close/>
              </a:path>
            </a:pathLst>
          </a:cu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622DC95C-C417-7142-3EA3-4FA5836524B9}"/>
              </a:ext>
            </a:extLst>
          </p:cNvPr>
          <p:cNvSpPr/>
          <p:nvPr/>
        </p:nvSpPr>
        <p:spPr>
          <a:xfrm>
            <a:off x="1" y="172217"/>
            <a:ext cx="7429499" cy="3325323"/>
          </a:xfrm>
          <a:custGeom>
            <a:avLst/>
            <a:gdLst>
              <a:gd name="connsiteX0" fmla="*/ 0 w 7429499"/>
              <a:gd name="connsiteY0" fmla="*/ 0 h 3325323"/>
              <a:gd name="connsiteX1" fmla="*/ 7429499 w 7429499"/>
              <a:gd name="connsiteY1" fmla="*/ 0 h 3325323"/>
              <a:gd name="connsiteX2" fmla="*/ 7429499 w 7429499"/>
              <a:gd name="connsiteY2" fmla="*/ 694401 h 3325323"/>
              <a:gd name="connsiteX3" fmla="*/ 7229318 w 7429499"/>
              <a:gd name="connsiteY3" fmla="*/ 894582 h 3325323"/>
              <a:gd name="connsiteX4" fmla="*/ 428780 w 7429499"/>
              <a:gd name="connsiteY4" fmla="*/ 894582 h 3325323"/>
              <a:gd name="connsiteX5" fmla="*/ 228599 w 7429499"/>
              <a:gd name="connsiteY5" fmla="*/ 1094763 h 3325323"/>
              <a:gd name="connsiteX6" fmla="*/ 228599 w 7429499"/>
              <a:gd name="connsiteY6" fmla="*/ 1758183 h 3325323"/>
              <a:gd name="connsiteX7" fmla="*/ 228599 w 7429499"/>
              <a:gd name="connsiteY7" fmla="*/ 1758183 h 3325323"/>
              <a:gd name="connsiteX8" fmla="*/ 228599 w 7429499"/>
              <a:gd name="connsiteY8" fmla="*/ 2530766 h 3325323"/>
              <a:gd name="connsiteX9" fmla="*/ 228599 w 7429499"/>
              <a:gd name="connsiteY9" fmla="*/ 2530766 h 3325323"/>
              <a:gd name="connsiteX10" fmla="*/ 228599 w 7429499"/>
              <a:gd name="connsiteY10" fmla="*/ 3139972 h 3325323"/>
              <a:gd name="connsiteX11" fmla="*/ 43248 w 7429499"/>
              <a:gd name="connsiteY11" fmla="*/ 3325323 h 3325323"/>
              <a:gd name="connsiteX12" fmla="*/ 0 w 7429499"/>
              <a:gd name="connsiteY12" fmla="*/ 3325323 h 3325323"/>
              <a:gd name="connsiteX13" fmla="*/ 0 w 7429499"/>
              <a:gd name="connsiteY13" fmla="*/ 2921503 h 3325323"/>
              <a:gd name="connsiteX14" fmla="*/ 0 w 7429499"/>
              <a:gd name="connsiteY14" fmla="*/ 2921503 h 3325323"/>
              <a:gd name="connsiteX15" fmla="*/ 0 w 7429499"/>
              <a:gd name="connsiteY15" fmla="*/ 1509686 h 3325323"/>
              <a:gd name="connsiteX16" fmla="*/ 0 w 7429499"/>
              <a:gd name="connsiteY16" fmla="*/ 1509686 h 33253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429499" h="3325323">
                <a:moveTo>
                  <a:pt x="0" y="0"/>
                </a:moveTo>
                <a:lnTo>
                  <a:pt x="7429499" y="0"/>
                </a:lnTo>
                <a:lnTo>
                  <a:pt x="7429499" y="694401"/>
                </a:lnTo>
                <a:cubicBezTo>
                  <a:pt x="7429499" y="804958"/>
                  <a:pt x="7339875" y="894582"/>
                  <a:pt x="7229318" y="894582"/>
                </a:cubicBezTo>
                <a:lnTo>
                  <a:pt x="428780" y="894582"/>
                </a:lnTo>
                <a:cubicBezTo>
                  <a:pt x="318223" y="894582"/>
                  <a:pt x="228599" y="984206"/>
                  <a:pt x="228599" y="1094763"/>
                </a:cubicBezTo>
                <a:lnTo>
                  <a:pt x="228599" y="1758183"/>
                </a:lnTo>
                <a:lnTo>
                  <a:pt x="228599" y="1758183"/>
                </a:lnTo>
                <a:lnTo>
                  <a:pt x="228599" y="2530766"/>
                </a:lnTo>
                <a:lnTo>
                  <a:pt x="228599" y="2530766"/>
                </a:lnTo>
                <a:lnTo>
                  <a:pt x="228599" y="3139972"/>
                </a:lnTo>
                <a:cubicBezTo>
                  <a:pt x="228599" y="3242339"/>
                  <a:pt x="145615" y="3325323"/>
                  <a:pt x="43248" y="3325323"/>
                </a:cubicBezTo>
                <a:lnTo>
                  <a:pt x="0" y="3325323"/>
                </a:lnTo>
                <a:lnTo>
                  <a:pt x="0" y="2921503"/>
                </a:lnTo>
                <a:lnTo>
                  <a:pt x="0" y="2921503"/>
                </a:lnTo>
                <a:lnTo>
                  <a:pt x="0" y="1509686"/>
                </a:lnTo>
                <a:lnTo>
                  <a:pt x="0" y="1509686"/>
                </a:lnTo>
                <a:close/>
              </a:path>
            </a:pathLst>
          </a:custGeom>
          <a:solidFill>
            <a:srgbClr val="08A5E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28600" tIns="45720" rIns="228600" bIns="45720" rtlCol="0" anchor="ctr">
            <a:noAutofit/>
          </a:bodyPr>
          <a:lstStyle/>
          <a:p>
            <a:pPr algn="l"/>
            <a:endParaRPr lang="en-US" sz="2200" b="1" i="1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B3CD7AB-92AE-E5A4-DF43-F18E53F8A852}"/>
              </a:ext>
            </a:extLst>
          </p:cNvPr>
          <p:cNvSpPr/>
          <p:nvPr/>
        </p:nvSpPr>
        <p:spPr>
          <a:xfrm>
            <a:off x="228600" y="196030"/>
            <a:ext cx="6829425" cy="8469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/>
            <a:r>
              <a:rPr lang="en-US" sz="2200" b="1" i="1" dirty="0"/>
              <a:t>We offer merchandising solutions and planograms designed to optimize your A La Carte sales</a:t>
            </a:r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EECC0FC0-ED83-8677-48FE-EB1EEF284883}"/>
              </a:ext>
            </a:extLst>
          </p:cNvPr>
          <p:cNvSpPr txBox="1">
            <a:spLocks/>
          </p:cNvSpPr>
          <p:nvPr/>
        </p:nvSpPr>
        <p:spPr>
          <a:xfrm>
            <a:off x="327660" y="1180068"/>
            <a:ext cx="4076700" cy="2332500"/>
          </a:xfrm>
          <a:prstGeom prst="rect">
            <a:avLst/>
          </a:prstGeom>
        </p:spPr>
        <p:txBody>
          <a:bodyPr vert="horz" wrap="square" lIns="100139" tIns="50071" rIns="100139" bIns="50071" rtlCol="0" anchor="t">
            <a:sp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75589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</a:pPr>
            <a:r>
              <a:rPr lang="en-US" sz="2000" b="1" i="1" dirty="0">
                <a:solidFill>
                  <a:srgbClr val="255997"/>
                </a:solidFill>
                <a:latin typeface="+mn-lt"/>
              </a:rPr>
              <a:t>Increase A La Carte sales by following planograms</a:t>
            </a:r>
            <a:endParaRPr lang="en-US" sz="2000" b="1" dirty="0">
              <a:solidFill>
                <a:srgbClr val="255997"/>
              </a:solidFill>
              <a:latin typeface="+mn-lt"/>
            </a:endParaRPr>
          </a:p>
          <a:p>
            <a:pPr marL="403225" indent="-280988" defTabSz="375589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Over 60% of snack purchases</a:t>
            </a:r>
            <a:br>
              <a:rPr 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</a:br>
            <a:r>
              <a:rPr 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are not planned</a:t>
            </a:r>
          </a:p>
          <a:p>
            <a:pPr marL="403225" indent="-280988" defTabSz="375589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</a:rPr>
              <a:t>An organized and consistent display makes it easy for students to find their favorite snacks</a:t>
            </a:r>
          </a:p>
        </p:txBody>
      </p:sp>
      <p:pic>
        <p:nvPicPr>
          <p:cNvPr id="2" name="Picture 1" descr="A blue box with yellow and blue designs&#10;&#10;Description automatically generated">
            <a:extLst>
              <a:ext uri="{FF2B5EF4-FFF2-40B4-BE49-F238E27FC236}">
                <a16:creationId xmlns:a16="http://schemas.microsoft.com/office/drawing/2014/main" id="{D28FB6FE-AE47-D873-45A1-25C0553EC87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9" b="19"/>
          <a:stretch/>
        </p:blipFill>
        <p:spPr>
          <a:xfrm>
            <a:off x="4551942" y="2073165"/>
            <a:ext cx="798251" cy="1558492"/>
          </a:xfrm>
          <a:prstGeom prst="rect">
            <a:avLst/>
          </a:prstGeom>
        </p:spPr>
      </p:pic>
      <p:pic>
        <p:nvPicPr>
          <p:cNvPr id="3" name="Picture 2" descr="A stack of chips on a black background&#10;&#10;Description automatically generated">
            <a:extLst>
              <a:ext uri="{FF2B5EF4-FFF2-40B4-BE49-F238E27FC236}">
                <a16:creationId xmlns:a16="http://schemas.microsoft.com/office/drawing/2014/main" id="{93ED2079-B519-F673-6DCF-7B7DDFA9B78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646" r="4646"/>
          <a:stretch/>
        </p:blipFill>
        <p:spPr>
          <a:xfrm>
            <a:off x="5474004" y="1354432"/>
            <a:ext cx="665018" cy="2231505"/>
          </a:xfrm>
          <a:prstGeom prst="rect">
            <a:avLst/>
          </a:prstGeom>
        </p:spPr>
      </p:pic>
      <p:pic>
        <p:nvPicPr>
          <p:cNvPr id="4" name="Picture 3" descr="A rack full of chips&#10;&#10;Description automatically generated">
            <a:extLst>
              <a:ext uri="{FF2B5EF4-FFF2-40B4-BE49-F238E27FC236}">
                <a16:creationId xmlns:a16="http://schemas.microsoft.com/office/drawing/2014/main" id="{7CFFBBDD-2B75-8859-6A90-D1A5547128F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223" r="5223"/>
          <a:stretch/>
        </p:blipFill>
        <p:spPr>
          <a:xfrm>
            <a:off x="6247592" y="1237592"/>
            <a:ext cx="1315258" cy="2394065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0BB0FE1A-11D7-B405-82B8-5E56A60B0C38}"/>
              </a:ext>
            </a:extLst>
          </p:cNvPr>
          <p:cNvSpPr>
            <a:spLocks/>
          </p:cNvSpPr>
          <p:nvPr/>
        </p:nvSpPr>
        <p:spPr>
          <a:xfrm>
            <a:off x="0" y="3733800"/>
            <a:ext cx="7772400" cy="61913"/>
          </a:xfrm>
          <a:prstGeom prst="rect">
            <a:avLst/>
          </a:prstGeom>
          <a:solidFill>
            <a:srgbClr val="06539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592AF693-435B-0F01-B271-718433A71723}"/>
              </a:ext>
            </a:extLst>
          </p:cNvPr>
          <p:cNvSpPr>
            <a:spLocks/>
          </p:cNvSpPr>
          <p:nvPr/>
        </p:nvSpPr>
        <p:spPr>
          <a:xfrm>
            <a:off x="3643312" y="4577942"/>
            <a:ext cx="4129088" cy="5007595"/>
          </a:xfrm>
          <a:prstGeom prst="rect">
            <a:avLst/>
          </a:prstGeom>
          <a:solidFill>
            <a:srgbClr val="FBE5D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0BCEC1AC-3323-F53B-8355-5730469151AD}"/>
              </a:ext>
            </a:extLst>
          </p:cNvPr>
          <p:cNvCxnSpPr>
            <a:cxnSpLocks/>
          </p:cNvCxnSpPr>
          <p:nvPr/>
        </p:nvCxnSpPr>
        <p:spPr>
          <a:xfrm flipH="1">
            <a:off x="3643312" y="4577942"/>
            <a:ext cx="4129088" cy="0"/>
          </a:xfrm>
          <a:prstGeom prst="line">
            <a:avLst/>
          </a:prstGeom>
          <a:ln w="19050">
            <a:solidFill>
              <a:srgbClr val="ED7D3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942CA6B6-C035-4A39-9442-9348FB92C7D2}"/>
              </a:ext>
            </a:extLst>
          </p:cNvPr>
          <p:cNvSpPr>
            <a:spLocks/>
          </p:cNvSpPr>
          <p:nvPr/>
        </p:nvSpPr>
        <p:spPr>
          <a:xfrm>
            <a:off x="4162317" y="5432247"/>
            <a:ext cx="45720" cy="2560320"/>
          </a:xfrm>
          <a:prstGeom prst="rect">
            <a:avLst/>
          </a:prstGeom>
          <a:solidFill>
            <a:srgbClr val="F7CCA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DF7CD9D-5F22-0FE3-9911-B4852A3DF3A9}"/>
              </a:ext>
            </a:extLst>
          </p:cNvPr>
          <p:cNvSpPr/>
          <p:nvPr/>
        </p:nvSpPr>
        <p:spPr>
          <a:xfrm>
            <a:off x="4038925" y="4239280"/>
            <a:ext cx="3504875" cy="637519"/>
          </a:xfrm>
          <a:prstGeom prst="roundRect">
            <a:avLst>
              <a:gd name="adj" fmla="val 50000"/>
            </a:avLst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 defTabSz="375589">
              <a:lnSpc>
                <a:spcPct val="100000"/>
              </a:lnSpc>
              <a:spcBef>
                <a:spcPts val="660"/>
              </a:spcBef>
              <a:buNone/>
            </a:pPr>
            <a:r>
              <a:rPr lang="en-US" sz="2200" b="1" dirty="0">
                <a:solidFill>
                  <a:schemeClr val="bg1"/>
                </a:solidFill>
              </a:rPr>
              <a:t>Planogram Guardrails</a:t>
            </a:r>
          </a:p>
        </p:txBody>
      </p:sp>
      <p:sp>
        <p:nvSpPr>
          <p:cNvPr id="84" name="Content Placeholder 3">
            <a:extLst>
              <a:ext uri="{FF2B5EF4-FFF2-40B4-BE49-F238E27FC236}">
                <a16:creationId xmlns:a16="http://schemas.microsoft.com/office/drawing/2014/main" id="{E37ECA61-AA8D-E9ED-C711-9926803BCE0B}"/>
              </a:ext>
            </a:extLst>
          </p:cNvPr>
          <p:cNvSpPr txBox="1">
            <a:spLocks/>
          </p:cNvSpPr>
          <p:nvPr/>
        </p:nvSpPr>
        <p:spPr>
          <a:xfrm>
            <a:off x="4562475" y="5105321"/>
            <a:ext cx="2981326" cy="71667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7558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Merchandise no fewer than </a:t>
            </a:r>
            <a:r>
              <a:rPr lang="en-US" sz="2000" b="1" dirty="0">
                <a:solidFill>
                  <a:srgbClr val="ED7D31"/>
                </a:solidFill>
                <a:latin typeface="+mn-lt"/>
              </a:rPr>
              <a:t>2 facings per SKU</a:t>
            </a:r>
          </a:p>
        </p:txBody>
      </p:sp>
      <p:sp>
        <p:nvSpPr>
          <p:cNvPr id="85" name="Content Placeholder 3">
            <a:extLst>
              <a:ext uri="{FF2B5EF4-FFF2-40B4-BE49-F238E27FC236}">
                <a16:creationId xmlns:a16="http://schemas.microsoft.com/office/drawing/2014/main" id="{D256A2C2-DB32-6F80-8620-63DC0D7BF4DB}"/>
              </a:ext>
            </a:extLst>
          </p:cNvPr>
          <p:cNvSpPr txBox="1">
            <a:spLocks/>
          </p:cNvSpPr>
          <p:nvPr/>
        </p:nvSpPr>
        <p:spPr>
          <a:xfrm>
            <a:off x="4562475" y="6161448"/>
            <a:ext cx="2981326" cy="132343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7558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Group “like” items (potato chips, tortilla chips, etc.) and brands together in blocks</a:t>
            </a:r>
          </a:p>
        </p:txBody>
      </p:sp>
      <p:sp>
        <p:nvSpPr>
          <p:cNvPr id="86" name="Content Placeholder 3">
            <a:extLst>
              <a:ext uri="{FF2B5EF4-FFF2-40B4-BE49-F238E27FC236}">
                <a16:creationId xmlns:a16="http://schemas.microsoft.com/office/drawing/2014/main" id="{F65DB28D-EF42-1326-8809-559DC89404A6}"/>
              </a:ext>
            </a:extLst>
          </p:cNvPr>
          <p:cNvSpPr txBox="1">
            <a:spLocks/>
          </p:cNvSpPr>
          <p:nvPr/>
        </p:nvSpPr>
        <p:spPr>
          <a:xfrm>
            <a:off x="4562475" y="7824342"/>
            <a:ext cx="2981326" cy="163121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69143" indent="-169143" algn="l" defTabSz="455259" rtl="0" eaLnBrk="1" latinLnBrk="0" hangingPunct="1">
              <a:lnSpc>
                <a:spcPct val="95000"/>
              </a:lnSpc>
              <a:spcBef>
                <a:spcPts val="1200"/>
              </a:spcBef>
              <a:buFont typeface="Wingdings" charset="2"/>
              <a:buChar char="§"/>
              <a:defRPr sz="18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1pPr>
            <a:lvl2pPr marL="453673" indent="-170731" algn="l" defTabSz="455259" rtl="0" eaLnBrk="1" latinLnBrk="0" hangingPunct="1">
              <a:lnSpc>
                <a:spcPct val="95000"/>
              </a:lnSpc>
              <a:spcBef>
                <a:spcPts val="600"/>
              </a:spcBef>
              <a:buFont typeface="Calibri" panose="020F0502020204030204" pitchFamily="34" charset="0"/>
              <a:buChar char="−"/>
              <a:tabLst/>
              <a:defRPr sz="16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2pPr>
            <a:lvl3pPr marL="679716" indent="-169143" algn="l" defTabSz="455259" rtl="0" eaLnBrk="1" latinLnBrk="0" hangingPunct="1">
              <a:lnSpc>
                <a:spcPct val="90000"/>
              </a:lnSpc>
              <a:spcBef>
                <a:spcPts val="400"/>
              </a:spcBef>
              <a:buFont typeface="Arial"/>
              <a:buChar char="•"/>
              <a:defRPr sz="1400" b="0" i="0" kern="1200">
                <a:solidFill>
                  <a:srgbClr val="0EA5DE"/>
                </a:solidFill>
                <a:latin typeface="Helvetica"/>
                <a:ea typeface="+mn-ea"/>
                <a:cs typeface="Helvetica"/>
              </a:defRPr>
            </a:lvl3pPr>
            <a:lvl4pPr marL="910517" indent="-113793" algn="l" defTabSz="455259" rtl="0" eaLnBrk="1" latinLnBrk="0" hangingPunct="1">
              <a:lnSpc>
                <a:spcPct val="9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4pPr>
            <a:lvl5pPr marL="1990174" indent="-169143" algn="l" defTabSz="455259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rgbClr val="0EA5DE"/>
                </a:solidFill>
                <a:latin typeface="Gotham Medium"/>
                <a:ea typeface="+mn-ea"/>
                <a:cs typeface="Gotham Medium"/>
              </a:defRPr>
            </a:lvl5pPr>
            <a:lvl6pPr marL="2503892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59214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447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69680" indent="-227670" algn="l" defTabSz="45525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37558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en-US" sz="2000" dirty="0">
                <a:solidFill>
                  <a:schemeClr val="tx1"/>
                </a:solidFill>
                <a:latin typeface="+mn-lt"/>
              </a:rPr>
              <a:t>Place best-selling SKUs at eye-level and featured innovation at the top or within a brand block 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101AFE1-48DB-2EB8-1438-9806E3267B9D}"/>
              </a:ext>
            </a:extLst>
          </p:cNvPr>
          <p:cNvGrpSpPr/>
          <p:nvPr/>
        </p:nvGrpSpPr>
        <p:grpSpPr>
          <a:xfrm>
            <a:off x="4000585" y="5145715"/>
            <a:ext cx="369184" cy="369184"/>
            <a:chOff x="389255" y="2209914"/>
            <a:chExt cx="199390" cy="19939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E53ADAF7-6181-E1EA-C2DB-904C18D7C218}"/>
                </a:ext>
              </a:extLst>
            </p:cNvPr>
            <p:cNvSpPr/>
            <p:nvPr/>
          </p:nvSpPr>
          <p:spPr>
            <a:xfrm>
              <a:off x="389255" y="2209914"/>
              <a:ext cx="199390" cy="19939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74" name="Isosceles Triangle 73">
              <a:extLst>
                <a:ext uri="{FF2B5EF4-FFF2-40B4-BE49-F238E27FC236}">
                  <a16:creationId xmlns:a16="http://schemas.microsoft.com/office/drawing/2014/main" id="{10F0C44A-E3F7-479C-0170-4CEDB486D4F0}"/>
                </a:ext>
              </a:extLst>
            </p:cNvPr>
            <p:cNvSpPr/>
            <p:nvPr/>
          </p:nvSpPr>
          <p:spPr>
            <a:xfrm rot="5400000">
              <a:off x="444772" y="2259208"/>
              <a:ext cx="116930" cy="100802"/>
            </a:xfrm>
            <a:prstGeom prst="triangle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5A7B8CE-CF8B-F5FF-42A2-31C537094CE4}"/>
              </a:ext>
            </a:extLst>
          </p:cNvPr>
          <p:cNvGrpSpPr/>
          <p:nvPr/>
        </p:nvGrpSpPr>
        <p:grpSpPr>
          <a:xfrm>
            <a:off x="4000585" y="6202990"/>
            <a:ext cx="369184" cy="369184"/>
            <a:chOff x="389255" y="2209914"/>
            <a:chExt cx="199390" cy="199390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07CF1D4E-4264-5292-BCF7-52F8E0432EA9}"/>
                </a:ext>
              </a:extLst>
            </p:cNvPr>
            <p:cNvSpPr/>
            <p:nvPr/>
          </p:nvSpPr>
          <p:spPr>
            <a:xfrm>
              <a:off x="389255" y="2209914"/>
              <a:ext cx="199390" cy="19939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9" name="Isosceles Triangle 88">
              <a:extLst>
                <a:ext uri="{FF2B5EF4-FFF2-40B4-BE49-F238E27FC236}">
                  <a16:creationId xmlns:a16="http://schemas.microsoft.com/office/drawing/2014/main" id="{D94A6B38-BE93-C09D-65BE-8912F36D8053}"/>
                </a:ext>
              </a:extLst>
            </p:cNvPr>
            <p:cNvSpPr/>
            <p:nvPr/>
          </p:nvSpPr>
          <p:spPr>
            <a:xfrm rot="5400000">
              <a:off x="444772" y="2259208"/>
              <a:ext cx="116930" cy="100802"/>
            </a:xfrm>
            <a:prstGeom prst="triangle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0E7010D2-4D6F-0301-A294-72D258968292}"/>
              </a:ext>
            </a:extLst>
          </p:cNvPr>
          <p:cNvGrpSpPr/>
          <p:nvPr/>
        </p:nvGrpSpPr>
        <p:grpSpPr>
          <a:xfrm>
            <a:off x="4000585" y="7869865"/>
            <a:ext cx="369184" cy="369184"/>
            <a:chOff x="389255" y="2209914"/>
            <a:chExt cx="199390" cy="199390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CFCBA27B-C7B6-F05D-6968-8254113C888D}"/>
                </a:ext>
              </a:extLst>
            </p:cNvPr>
            <p:cNvSpPr/>
            <p:nvPr/>
          </p:nvSpPr>
          <p:spPr>
            <a:xfrm>
              <a:off x="389255" y="2209914"/>
              <a:ext cx="199390" cy="19939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ED7D31"/>
              </a:solidFill>
            </a:ln>
            <a:effectLst>
              <a:outerShdw blurRad="635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92" name="Isosceles Triangle 91">
              <a:extLst>
                <a:ext uri="{FF2B5EF4-FFF2-40B4-BE49-F238E27FC236}">
                  <a16:creationId xmlns:a16="http://schemas.microsoft.com/office/drawing/2014/main" id="{B6743D0E-8154-0C67-1A1C-3D6BDE1ECB02}"/>
                </a:ext>
              </a:extLst>
            </p:cNvPr>
            <p:cNvSpPr/>
            <p:nvPr/>
          </p:nvSpPr>
          <p:spPr>
            <a:xfrm rot="5400000">
              <a:off x="444772" y="2259208"/>
              <a:ext cx="116930" cy="100802"/>
            </a:xfrm>
            <a:prstGeom prst="triangle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6E13A2CE-7E17-CC88-7532-CFE7DF6F60C7}"/>
              </a:ext>
            </a:extLst>
          </p:cNvPr>
          <p:cNvCxnSpPr>
            <a:cxnSpLocks/>
          </p:cNvCxnSpPr>
          <p:nvPr/>
        </p:nvCxnSpPr>
        <p:spPr>
          <a:xfrm>
            <a:off x="4667250" y="5991721"/>
            <a:ext cx="2886075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CAC4D2A6-78DB-0A62-7386-FA91379E4F29}"/>
              </a:ext>
            </a:extLst>
          </p:cNvPr>
          <p:cNvCxnSpPr>
            <a:cxnSpLocks/>
          </p:cNvCxnSpPr>
          <p:nvPr/>
        </p:nvCxnSpPr>
        <p:spPr>
          <a:xfrm>
            <a:off x="4667250" y="7654614"/>
            <a:ext cx="2886075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98C4FAD-818E-8220-6520-F3A4FF9A9DE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schemeClr val="bg1"/>
                </a:solidFill>
              </a:rPr>
              <a:pPr/>
              <a:t>2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67B0819-DC7E-4284-EEE5-2B9DF3789C3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7601" y="4555094"/>
            <a:ext cx="3651821" cy="499305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53D276F4-C5D3-F275-C642-3112382E4DB0}"/>
              </a:ext>
            </a:extLst>
          </p:cNvPr>
          <p:cNvGrpSpPr/>
          <p:nvPr/>
        </p:nvGrpSpPr>
        <p:grpSpPr>
          <a:xfrm>
            <a:off x="127601" y="4876799"/>
            <a:ext cx="2285912" cy="1226676"/>
            <a:chOff x="-1463045" y="842721"/>
            <a:chExt cx="1748456" cy="1128402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D59B778-D93A-6BA5-FDE1-B252C6C3ED6F}"/>
                </a:ext>
              </a:extLst>
            </p:cNvPr>
            <p:cNvGrpSpPr/>
            <p:nvPr/>
          </p:nvGrpSpPr>
          <p:grpSpPr>
            <a:xfrm>
              <a:off x="-1463045" y="842721"/>
              <a:ext cx="1748456" cy="1128402"/>
              <a:chOff x="-1463045" y="842721"/>
              <a:chExt cx="1748456" cy="1128402"/>
            </a:xfrm>
          </p:grpSpPr>
          <p:sp>
            <p:nvSpPr>
              <p:cNvPr id="15" name="Free-form: Shape 194">
                <a:extLst>
                  <a:ext uri="{FF2B5EF4-FFF2-40B4-BE49-F238E27FC236}">
                    <a16:creationId xmlns:a16="http://schemas.microsoft.com/office/drawing/2014/main" id="{039D3AF1-6D6D-60BB-5283-B6F7C16CB464}"/>
                  </a:ext>
                </a:extLst>
              </p:cNvPr>
              <p:cNvSpPr/>
              <p:nvPr/>
            </p:nvSpPr>
            <p:spPr>
              <a:xfrm>
                <a:off x="-1326185" y="842721"/>
                <a:ext cx="1293526" cy="1128402"/>
              </a:xfrm>
              <a:custGeom>
                <a:avLst/>
                <a:gdLst>
                  <a:gd name="connsiteX0" fmla="*/ 1156432 w 1231077"/>
                  <a:gd name="connsiteY0" fmla="*/ 290683 h 976292"/>
                  <a:gd name="connsiteX1" fmla="*/ 1025490 w 1231077"/>
                  <a:gd name="connsiteY1" fmla="*/ 154391 h 976292"/>
                  <a:gd name="connsiteX2" fmla="*/ 852450 w 1231077"/>
                  <a:gd name="connsiteY2" fmla="*/ 86545 h 976292"/>
                  <a:gd name="connsiteX3" fmla="*/ 614864 w 1231077"/>
                  <a:gd name="connsiteY3" fmla="*/ 0 h 976292"/>
                  <a:gd name="connsiteX4" fmla="*/ 381328 w 1231077"/>
                  <a:gd name="connsiteY4" fmla="*/ 112993 h 976292"/>
                  <a:gd name="connsiteX5" fmla="*/ 208388 w 1231077"/>
                  <a:gd name="connsiteY5" fmla="*/ 130342 h 976292"/>
                  <a:gd name="connsiteX6" fmla="*/ 106544 w 1231077"/>
                  <a:gd name="connsiteY6" fmla="*/ 286233 h 976292"/>
                  <a:gd name="connsiteX7" fmla="*/ 0 w 1231077"/>
                  <a:gd name="connsiteY7" fmla="*/ 407526 h 976292"/>
                  <a:gd name="connsiteX8" fmla="*/ 40548 w 1231077"/>
                  <a:gd name="connsiteY8" fmla="*/ 564517 h 976292"/>
                  <a:gd name="connsiteX9" fmla="*/ 110494 w 1231077"/>
                  <a:gd name="connsiteY9" fmla="*/ 745556 h 976292"/>
                  <a:gd name="connsiteX10" fmla="*/ 286483 w 1231077"/>
                  <a:gd name="connsiteY10" fmla="*/ 860649 h 976292"/>
                  <a:gd name="connsiteX11" fmla="*/ 457973 w 1231077"/>
                  <a:gd name="connsiteY11" fmla="*/ 976292 h 976292"/>
                  <a:gd name="connsiteX12" fmla="*/ 654212 w 1231077"/>
                  <a:gd name="connsiteY12" fmla="*/ 937795 h 976292"/>
                  <a:gd name="connsiteX13" fmla="*/ 945545 w 1231077"/>
                  <a:gd name="connsiteY13" fmla="*/ 892447 h 976292"/>
                  <a:gd name="connsiteX14" fmla="*/ 1117185 w 1231077"/>
                  <a:gd name="connsiteY14" fmla="*/ 678060 h 976292"/>
                  <a:gd name="connsiteX15" fmla="*/ 1231078 w 1231077"/>
                  <a:gd name="connsiteY15" fmla="*/ 482322 h 976292"/>
                  <a:gd name="connsiteX16" fmla="*/ 1156582 w 1231077"/>
                  <a:gd name="connsiteY16" fmla="*/ 290783 h 97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31077" h="976292">
                    <a:moveTo>
                      <a:pt x="1156432" y="290683"/>
                    </a:moveTo>
                    <a:cubicBezTo>
                      <a:pt x="992742" y="282633"/>
                      <a:pt x="923196" y="282933"/>
                      <a:pt x="1025490" y="154391"/>
                    </a:cubicBezTo>
                    <a:cubicBezTo>
                      <a:pt x="851550" y="228537"/>
                      <a:pt x="803153" y="217937"/>
                      <a:pt x="852450" y="86545"/>
                    </a:cubicBezTo>
                    <a:cubicBezTo>
                      <a:pt x="720608" y="189889"/>
                      <a:pt x="664611" y="171640"/>
                      <a:pt x="614864" y="0"/>
                    </a:cubicBezTo>
                    <a:cubicBezTo>
                      <a:pt x="555367" y="181689"/>
                      <a:pt x="502171" y="210038"/>
                      <a:pt x="381328" y="112993"/>
                    </a:cubicBezTo>
                    <a:cubicBezTo>
                      <a:pt x="435624" y="227187"/>
                      <a:pt x="382828" y="224837"/>
                      <a:pt x="208388" y="130342"/>
                    </a:cubicBezTo>
                    <a:cubicBezTo>
                      <a:pt x="297433" y="259885"/>
                      <a:pt x="264734" y="297233"/>
                      <a:pt x="106544" y="286233"/>
                    </a:cubicBezTo>
                    <a:cubicBezTo>
                      <a:pt x="203688" y="342630"/>
                      <a:pt x="158791" y="378728"/>
                      <a:pt x="0" y="407526"/>
                    </a:cubicBezTo>
                    <a:cubicBezTo>
                      <a:pt x="128142" y="463773"/>
                      <a:pt x="142392" y="512770"/>
                      <a:pt x="40548" y="564517"/>
                    </a:cubicBezTo>
                    <a:cubicBezTo>
                      <a:pt x="171990" y="603464"/>
                      <a:pt x="207888" y="643662"/>
                      <a:pt x="110494" y="745556"/>
                    </a:cubicBezTo>
                    <a:cubicBezTo>
                      <a:pt x="285533" y="690409"/>
                      <a:pt x="384527" y="699609"/>
                      <a:pt x="286483" y="860649"/>
                    </a:cubicBezTo>
                    <a:cubicBezTo>
                      <a:pt x="414576" y="774704"/>
                      <a:pt x="457573" y="805053"/>
                      <a:pt x="457973" y="976292"/>
                    </a:cubicBezTo>
                    <a:cubicBezTo>
                      <a:pt x="550818" y="819652"/>
                      <a:pt x="601065" y="803953"/>
                      <a:pt x="654212" y="937795"/>
                    </a:cubicBezTo>
                    <a:cubicBezTo>
                      <a:pt x="700959" y="794103"/>
                      <a:pt x="778004" y="790803"/>
                      <a:pt x="945545" y="892447"/>
                    </a:cubicBezTo>
                    <a:cubicBezTo>
                      <a:pt x="904847" y="734907"/>
                      <a:pt x="954644" y="682310"/>
                      <a:pt x="1117185" y="678060"/>
                    </a:cubicBezTo>
                    <a:cubicBezTo>
                      <a:pt x="1063038" y="605314"/>
                      <a:pt x="1042489" y="516420"/>
                      <a:pt x="1231078" y="482322"/>
                    </a:cubicBezTo>
                    <a:cubicBezTo>
                      <a:pt x="1041939" y="468972"/>
                      <a:pt x="1049438" y="375278"/>
                      <a:pt x="1156582" y="290783"/>
                    </a:cubicBezTo>
                    <a:close/>
                  </a:path>
                </a:pathLst>
              </a:custGeom>
              <a:solidFill>
                <a:srgbClr val="ED7D31"/>
              </a:solidFill>
              <a:ln w="6350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18288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0918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16" name="Free-form: Shape 195">
                <a:extLst>
                  <a:ext uri="{FF2B5EF4-FFF2-40B4-BE49-F238E27FC236}">
                    <a16:creationId xmlns:a16="http://schemas.microsoft.com/office/drawing/2014/main" id="{CCC1A1EC-3208-7C7F-4C30-B1767E422F29}"/>
                  </a:ext>
                </a:extLst>
              </p:cNvPr>
              <p:cNvSpPr/>
              <p:nvPr/>
            </p:nvSpPr>
            <p:spPr>
              <a:xfrm>
                <a:off x="-1390804" y="848845"/>
                <a:ext cx="1449760" cy="1117767"/>
              </a:xfrm>
              <a:custGeom>
                <a:avLst/>
                <a:gdLst>
                  <a:gd name="connsiteX0" fmla="*/ 503420 w 1379768"/>
                  <a:gd name="connsiteY0" fmla="*/ 966943 h 967092"/>
                  <a:gd name="connsiteX1" fmla="*/ 503420 w 1379768"/>
                  <a:gd name="connsiteY1" fmla="*/ 950494 h 967092"/>
                  <a:gd name="connsiteX2" fmla="*/ 438774 w 1379768"/>
                  <a:gd name="connsiteY2" fmla="*/ 800153 h 967092"/>
                  <a:gd name="connsiteX3" fmla="*/ 327531 w 1379768"/>
                  <a:gd name="connsiteY3" fmla="*/ 843950 h 967092"/>
                  <a:gd name="connsiteX4" fmla="*/ 308132 w 1379768"/>
                  <a:gd name="connsiteY4" fmla="*/ 855600 h 967092"/>
                  <a:gd name="connsiteX5" fmla="*/ 320881 w 1379768"/>
                  <a:gd name="connsiteY5" fmla="*/ 836851 h 967092"/>
                  <a:gd name="connsiteX6" fmla="*/ 357579 w 1379768"/>
                  <a:gd name="connsiteY6" fmla="*/ 727257 h 967092"/>
                  <a:gd name="connsiteX7" fmla="*/ 296783 w 1379768"/>
                  <a:gd name="connsiteY7" fmla="*/ 705158 h 967092"/>
                  <a:gd name="connsiteX8" fmla="*/ 138142 w 1379768"/>
                  <a:gd name="connsiteY8" fmla="*/ 734207 h 967092"/>
                  <a:gd name="connsiteX9" fmla="*/ 118493 w 1379768"/>
                  <a:gd name="connsiteY9" fmla="*/ 739756 h 967092"/>
                  <a:gd name="connsiteX10" fmla="*/ 133392 w 1379768"/>
                  <a:gd name="connsiteY10" fmla="*/ 725757 h 967092"/>
                  <a:gd name="connsiteX11" fmla="*/ 189989 w 1379768"/>
                  <a:gd name="connsiteY11" fmla="*/ 630663 h 967092"/>
                  <a:gd name="connsiteX12" fmla="*/ 60746 w 1379768"/>
                  <a:gd name="connsiteY12" fmla="*/ 560817 h 967092"/>
                  <a:gd name="connsiteX13" fmla="*/ 47297 w 1379768"/>
                  <a:gd name="connsiteY13" fmla="*/ 557267 h 967092"/>
                  <a:gd name="connsiteX14" fmla="*/ 59996 w 1379768"/>
                  <a:gd name="connsiteY14" fmla="*/ 551518 h 967092"/>
                  <a:gd name="connsiteX15" fmla="*/ 128942 w 1379768"/>
                  <a:gd name="connsiteY15" fmla="*/ 490621 h 967092"/>
                  <a:gd name="connsiteX16" fmla="*/ 16899 w 1379768"/>
                  <a:gd name="connsiteY16" fmla="*/ 410276 h 967092"/>
                  <a:gd name="connsiteX17" fmla="*/ 0 w 1379768"/>
                  <a:gd name="connsiteY17" fmla="*/ 403626 h 967092"/>
                  <a:gd name="connsiteX18" fmla="*/ 17899 w 1379768"/>
                  <a:gd name="connsiteY18" fmla="*/ 400726 h 967092"/>
                  <a:gd name="connsiteX19" fmla="*/ 182089 w 1379768"/>
                  <a:gd name="connsiteY19" fmla="*/ 342230 h 967092"/>
                  <a:gd name="connsiteX20" fmla="*/ 130392 w 1379768"/>
                  <a:gd name="connsiteY20" fmla="*/ 293883 h 967092"/>
                  <a:gd name="connsiteX21" fmla="*/ 109544 w 1379768"/>
                  <a:gd name="connsiteY21" fmla="*/ 283033 h 967092"/>
                  <a:gd name="connsiteX22" fmla="*/ 132992 w 1379768"/>
                  <a:gd name="connsiteY22" fmla="*/ 284483 h 967092"/>
                  <a:gd name="connsiteX23" fmla="*/ 182939 w 1379768"/>
                  <a:gd name="connsiteY23" fmla="*/ 286233 h 967092"/>
                  <a:gd name="connsiteX24" fmla="*/ 285483 w 1379768"/>
                  <a:gd name="connsiteY24" fmla="*/ 257235 h 967092"/>
                  <a:gd name="connsiteX25" fmla="*/ 237636 w 1379768"/>
                  <a:gd name="connsiteY25" fmla="*/ 143142 h 967092"/>
                  <a:gd name="connsiteX26" fmla="*/ 224837 w 1379768"/>
                  <a:gd name="connsiteY26" fmla="*/ 126443 h 967092"/>
                  <a:gd name="connsiteX27" fmla="*/ 243786 w 1379768"/>
                  <a:gd name="connsiteY27" fmla="*/ 135642 h 967092"/>
                  <a:gd name="connsiteX28" fmla="*/ 422475 w 1379768"/>
                  <a:gd name="connsiteY28" fmla="*/ 201888 h 967092"/>
                  <a:gd name="connsiteX29" fmla="*/ 422475 w 1379768"/>
                  <a:gd name="connsiteY29" fmla="*/ 201888 h 967092"/>
                  <a:gd name="connsiteX30" fmla="*/ 441174 w 1379768"/>
                  <a:gd name="connsiteY30" fmla="*/ 194739 h 967092"/>
                  <a:gd name="connsiteX31" fmla="*/ 422175 w 1379768"/>
                  <a:gd name="connsiteY31" fmla="*/ 125843 h 967092"/>
                  <a:gd name="connsiteX32" fmla="*/ 412176 w 1379768"/>
                  <a:gd name="connsiteY32" fmla="*/ 107044 h 967092"/>
                  <a:gd name="connsiteX33" fmla="*/ 429475 w 1379768"/>
                  <a:gd name="connsiteY33" fmla="*/ 119493 h 967092"/>
                  <a:gd name="connsiteX34" fmla="*/ 544718 w 1379768"/>
                  <a:gd name="connsiteY34" fmla="*/ 171040 h 967092"/>
                  <a:gd name="connsiteX35" fmla="*/ 544718 w 1379768"/>
                  <a:gd name="connsiteY35" fmla="*/ 171040 h 967092"/>
                  <a:gd name="connsiteX36" fmla="*/ 671661 w 1379768"/>
                  <a:gd name="connsiteY36" fmla="*/ 13549 h 967092"/>
                  <a:gd name="connsiteX37" fmla="*/ 676610 w 1379768"/>
                  <a:gd name="connsiteY37" fmla="*/ 0 h 967092"/>
                  <a:gd name="connsiteX38" fmla="*/ 681060 w 1379768"/>
                  <a:gd name="connsiteY38" fmla="*/ 13749 h 967092"/>
                  <a:gd name="connsiteX39" fmla="*/ 794453 w 1379768"/>
                  <a:gd name="connsiteY39" fmla="*/ 154191 h 967092"/>
                  <a:gd name="connsiteX40" fmla="*/ 927596 w 1379768"/>
                  <a:gd name="connsiteY40" fmla="*/ 94144 h 967092"/>
                  <a:gd name="connsiteX41" fmla="*/ 941695 w 1379768"/>
                  <a:gd name="connsiteY41" fmla="*/ 84245 h 967092"/>
                  <a:gd name="connsiteX42" fmla="*/ 935045 w 1379768"/>
                  <a:gd name="connsiteY42" fmla="*/ 100144 h 967092"/>
                  <a:gd name="connsiteX43" fmla="*/ 920796 w 1379768"/>
                  <a:gd name="connsiteY43" fmla="*/ 189889 h 967092"/>
                  <a:gd name="connsiteX44" fmla="*/ 954144 w 1379768"/>
                  <a:gd name="connsiteY44" fmla="*/ 202338 h 967092"/>
                  <a:gd name="connsiteX45" fmla="*/ 1113785 w 1379768"/>
                  <a:gd name="connsiteY45" fmla="*/ 158591 h 967092"/>
                  <a:gd name="connsiteX46" fmla="*/ 1132784 w 1379768"/>
                  <a:gd name="connsiteY46" fmla="*/ 151341 h 967092"/>
                  <a:gd name="connsiteX47" fmla="*/ 1119284 w 1379768"/>
                  <a:gd name="connsiteY47" fmla="*/ 166540 h 967092"/>
                  <a:gd name="connsiteX48" fmla="*/ 1070787 w 1379768"/>
                  <a:gd name="connsiteY48" fmla="*/ 256285 h 967092"/>
                  <a:gd name="connsiteX49" fmla="*/ 1241777 w 1379768"/>
                  <a:gd name="connsiteY49" fmla="*/ 288233 h 967092"/>
                  <a:gd name="connsiteX50" fmla="*/ 1270326 w 1379768"/>
                  <a:gd name="connsiteY50" fmla="*/ 289483 h 967092"/>
                  <a:gd name="connsiteX51" fmla="*/ 1258426 w 1379768"/>
                  <a:gd name="connsiteY51" fmla="*/ 297882 h 967092"/>
                  <a:gd name="connsiteX52" fmla="*/ 1181581 w 1379768"/>
                  <a:gd name="connsiteY52" fmla="*/ 410626 h 967092"/>
                  <a:gd name="connsiteX53" fmla="*/ 1335522 w 1379768"/>
                  <a:gd name="connsiteY53" fmla="*/ 472322 h 967092"/>
                  <a:gd name="connsiteX54" fmla="*/ 1379769 w 1379768"/>
                  <a:gd name="connsiteY54" fmla="*/ 475122 h 967092"/>
                  <a:gd name="connsiteX55" fmla="*/ 1336022 w 1379768"/>
                  <a:gd name="connsiteY55" fmla="*/ 482222 h 967092"/>
                  <a:gd name="connsiteX56" fmla="*/ 1181781 w 1379768"/>
                  <a:gd name="connsiteY56" fmla="*/ 558517 h 967092"/>
                  <a:gd name="connsiteX57" fmla="*/ 1217229 w 1379768"/>
                  <a:gd name="connsiteY57" fmla="*/ 661661 h 967092"/>
                  <a:gd name="connsiteX58" fmla="*/ 1223828 w 1379768"/>
                  <a:gd name="connsiteY58" fmla="*/ 669561 h 967092"/>
                  <a:gd name="connsiteX59" fmla="*/ 1213529 w 1379768"/>
                  <a:gd name="connsiteY59" fmla="*/ 669811 h 967092"/>
                  <a:gd name="connsiteX60" fmla="*/ 1037889 w 1379768"/>
                  <a:gd name="connsiteY60" fmla="*/ 722957 h 967092"/>
                  <a:gd name="connsiteX61" fmla="*/ 1034639 w 1379768"/>
                  <a:gd name="connsiteY61" fmla="*/ 868849 h 967092"/>
                  <a:gd name="connsiteX62" fmla="*/ 1037939 w 1379768"/>
                  <a:gd name="connsiteY62" fmla="*/ 880298 h 967092"/>
                  <a:gd name="connsiteX63" fmla="*/ 1027490 w 1379768"/>
                  <a:gd name="connsiteY63" fmla="*/ 874598 h 967092"/>
                  <a:gd name="connsiteX64" fmla="*/ 840901 w 1379768"/>
                  <a:gd name="connsiteY64" fmla="*/ 807952 h 967092"/>
                  <a:gd name="connsiteX65" fmla="*/ 722958 w 1379768"/>
                  <a:gd name="connsiteY65" fmla="*/ 915396 h 967092"/>
                  <a:gd name="connsiteX66" fmla="*/ 718758 w 1379768"/>
                  <a:gd name="connsiteY66" fmla="*/ 926995 h 967092"/>
                  <a:gd name="connsiteX67" fmla="*/ 713758 w 1379768"/>
                  <a:gd name="connsiteY67" fmla="*/ 915696 h 967092"/>
                  <a:gd name="connsiteX68" fmla="*/ 638413 w 1379768"/>
                  <a:gd name="connsiteY68" fmla="*/ 831851 h 967092"/>
                  <a:gd name="connsiteX69" fmla="*/ 512620 w 1379768"/>
                  <a:gd name="connsiteY69" fmla="*/ 953344 h 967092"/>
                  <a:gd name="connsiteX70" fmla="*/ 503520 w 1379768"/>
                  <a:gd name="connsiteY70" fmla="*/ 967093 h 967092"/>
                  <a:gd name="connsiteX71" fmla="*/ 438774 w 1379768"/>
                  <a:gd name="connsiteY71" fmla="*/ 790153 h 967092"/>
                  <a:gd name="connsiteX72" fmla="*/ 513120 w 1379768"/>
                  <a:gd name="connsiteY72" fmla="*/ 934395 h 967092"/>
                  <a:gd name="connsiteX73" fmla="*/ 638313 w 1379768"/>
                  <a:gd name="connsiteY73" fmla="*/ 821752 h 967092"/>
                  <a:gd name="connsiteX74" fmla="*/ 717808 w 1379768"/>
                  <a:gd name="connsiteY74" fmla="*/ 900647 h 967092"/>
                  <a:gd name="connsiteX75" fmla="*/ 840851 w 1379768"/>
                  <a:gd name="connsiteY75" fmla="*/ 797853 h 967092"/>
                  <a:gd name="connsiteX76" fmla="*/ 1021940 w 1379768"/>
                  <a:gd name="connsiteY76" fmla="*/ 860199 h 967092"/>
                  <a:gd name="connsiteX77" fmla="*/ 1029890 w 1379768"/>
                  <a:gd name="connsiteY77" fmla="*/ 716958 h 967092"/>
                  <a:gd name="connsiteX78" fmla="*/ 1203279 w 1379768"/>
                  <a:gd name="connsiteY78" fmla="*/ 660061 h 967092"/>
                  <a:gd name="connsiteX79" fmla="*/ 1172481 w 1379768"/>
                  <a:gd name="connsiteY79" fmla="*/ 554917 h 967092"/>
                  <a:gd name="connsiteX80" fmla="*/ 1299674 w 1379768"/>
                  <a:gd name="connsiteY80" fmla="*/ 478922 h 967092"/>
                  <a:gd name="connsiteX81" fmla="*/ 1172031 w 1379768"/>
                  <a:gd name="connsiteY81" fmla="*/ 413226 h 967092"/>
                  <a:gd name="connsiteX82" fmla="*/ 1241177 w 1379768"/>
                  <a:gd name="connsiteY82" fmla="*/ 298032 h 967092"/>
                  <a:gd name="connsiteX83" fmla="*/ 1061588 w 1379768"/>
                  <a:gd name="connsiteY83" fmla="*/ 260035 h 967092"/>
                  <a:gd name="connsiteX84" fmla="*/ 1098986 w 1379768"/>
                  <a:gd name="connsiteY84" fmla="*/ 174640 h 967092"/>
                  <a:gd name="connsiteX85" fmla="*/ 954094 w 1379768"/>
                  <a:gd name="connsiteY85" fmla="*/ 212138 h 967092"/>
                  <a:gd name="connsiteX86" fmla="*/ 912496 w 1379768"/>
                  <a:gd name="connsiteY86" fmla="*/ 195238 h 967092"/>
                  <a:gd name="connsiteX87" fmla="*/ 919746 w 1379768"/>
                  <a:gd name="connsiteY87" fmla="*/ 111493 h 967092"/>
                  <a:gd name="connsiteX88" fmla="*/ 794453 w 1379768"/>
                  <a:gd name="connsiteY88" fmla="*/ 164040 h 967092"/>
                  <a:gd name="connsiteX89" fmla="*/ 676060 w 1379768"/>
                  <a:gd name="connsiteY89" fmla="*/ 30148 h 967092"/>
                  <a:gd name="connsiteX90" fmla="*/ 544718 w 1379768"/>
                  <a:gd name="connsiteY90" fmla="*/ 180939 h 967092"/>
                  <a:gd name="connsiteX91" fmla="*/ 544718 w 1379768"/>
                  <a:gd name="connsiteY91" fmla="*/ 180939 h 967092"/>
                  <a:gd name="connsiteX92" fmla="*/ 439724 w 1379768"/>
                  <a:gd name="connsiteY92" fmla="*/ 138692 h 967092"/>
                  <a:gd name="connsiteX93" fmla="*/ 449674 w 1379768"/>
                  <a:gd name="connsiteY93" fmla="*/ 199838 h 967092"/>
                  <a:gd name="connsiteX94" fmla="*/ 422425 w 1379768"/>
                  <a:gd name="connsiteY94" fmla="*/ 211788 h 967092"/>
                  <a:gd name="connsiteX95" fmla="*/ 422425 w 1379768"/>
                  <a:gd name="connsiteY95" fmla="*/ 211788 h 967092"/>
                  <a:gd name="connsiteX96" fmla="*/ 257635 w 1379768"/>
                  <a:gd name="connsiteY96" fmla="*/ 153291 h 967092"/>
                  <a:gd name="connsiteX97" fmla="*/ 294383 w 1379768"/>
                  <a:gd name="connsiteY97" fmla="*/ 261585 h 967092"/>
                  <a:gd name="connsiteX98" fmla="*/ 182889 w 1379768"/>
                  <a:gd name="connsiteY98" fmla="*/ 296133 h 967092"/>
                  <a:gd name="connsiteX99" fmla="*/ 153641 w 1379768"/>
                  <a:gd name="connsiteY99" fmla="*/ 295483 h 967092"/>
                  <a:gd name="connsiteX100" fmla="*/ 191889 w 1379768"/>
                  <a:gd name="connsiteY100" fmla="*/ 343780 h 967092"/>
                  <a:gd name="connsiteX101" fmla="*/ 36798 w 1379768"/>
                  <a:gd name="connsiteY101" fmla="*/ 407626 h 967092"/>
                  <a:gd name="connsiteX102" fmla="*/ 138842 w 1379768"/>
                  <a:gd name="connsiteY102" fmla="*/ 490321 h 967092"/>
                  <a:gd name="connsiteX103" fmla="*/ 76296 w 1379768"/>
                  <a:gd name="connsiteY103" fmla="*/ 554717 h 967092"/>
                  <a:gd name="connsiteX104" fmla="*/ 199638 w 1379768"/>
                  <a:gd name="connsiteY104" fmla="*/ 628213 h 967092"/>
                  <a:gd name="connsiteX105" fmla="*/ 154141 w 1379768"/>
                  <a:gd name="connsiteY105" fmla="*/ 719458 h 967092"/>
                  <a:gd name="connsiteX106" fmla="*/ 296833 w 1379768"/>
                  <a:gd name="connsiteY106" fmla="*/ 695209 h 967092"/>
                  <a:gd name="connsiteX107" fmla="*/ 366428 w 1379768"/>
                  <a:gd name="connsiteY107" fmla="*/ 722607 h 967092"/>
                  <a:gd name="connsiteX108" fmla="*/ 340630 w 1379768"/>
                  <a:gd name="connsiteY108" fmla="*/ 824801 h 967092"/>
                  <a:gd name="connsiteX109" fmla="*/ 438824 w 1379768"/>
                  <a:gd name="connsiteY109" fmla="*/ 790103 h 967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1379768" h="967092">
                    <a:moveTo>
                      <a:pt x="503420" y="966943"/>
                    </a:moveTo>
                    <a:lnTo>
                      <a:pt x="503420" y="950494"/>
                    </a:lnTo>
                    <a:cubicBezTo>
                      <a:pt x="503120" y="845100"/>
                      <a:pt x="483822" y="800153"/>
                      <a:pt x="438774" y="800153"/>
                    </a:cubicBezTo>
                    <a:cubicBezTo>
                      <a:pt x="412976" y="800153"/>
                      <a:pt x="376578" y="814502"/>
                      <a:pt x="327531" y="843950"/>
                    </a:cubicBezTo>
                    <a:lnTo>
                      <a:pt x="308132" y="855600"/>
                    </a:lnTo>
                    <a:lnTo>
                      <a:pt x="320881" y="836851"/>
                    </a:lnTo>
                    <a:cubicBezTo>
                      <a:pt x="356229" y="784904"/>
                      <a:pt x="368578" y="748006"/>
                      <a:pt x="357579" y="727257"/>
                    </a:cubicBezTo>
                    <a:cubicBezTo>
                      <a:pt x="349829" y="712608"/>
                      <a:pt x="329381" y="705158"/>
                      <a:pt x="296783" y="705158"/>
                    </a:cubicBezTo>
                    <a:cubicBezTo>
                      <a:pt x="259785" y="705158"/>
                      <a:pt x="206388" y="714908"/>
                      <a:pt x="138142" y="734207"/>
                    </a:cubicBezTo>
                    <a:lnTo>
                      <a:pt x="118493" y="739756"/>
                    </a:lnTo>
                    <a:lnTo>
                      <a:pt x="133392" y="725757"/>
                    </a:lnTo>
                    <a:cubicBezTo>
                      <a:pt x="177840" y="684110"/>
                      <a:pt x="195839" y="653911"/>
                      <a:pt x="189989" y="630663"/>
                    </a:cubicBezTo>
                    <a:cubicBezTo>
                      <a:pt x="183289" y="603964"/>
                      <a:pt x="144642" y="583066"/>
                      <a:pt x="60746" y="560817"/>
                    </a:cubicBezTo>
                    <a:lnTo>
                      <a:pt x="47297" y="557267"/>
                    </a:lnTo>
                    <a:lnTo>
                      <a:pt x="59996" y="551518"/>
                    </a:lnTo>
                    <a:cubicBezTo>
                      <a:pt x="106244" y="530469"/>
                      <a:pt x="129442" y="509970"/>
                      <a:pt x="128942" y="490621"/>
                    </a:cubicBezTo>
                    <a:cubicBezTo>
                      <a:pt x="128292" y="466323"/>
                      <a:pt x="90595" y="439274"/>
                      <a:pt x="16899" y="410276"/>
                    </a:cubicBezTo>
                    <a:lnTo>
                      <a:pt x="0" y="403626"/>
                    </a:lnTo>
                    <a:lnTo>
                      <a:pt x="17899" y="400726"/>
                    </a:lnTo>
                    <a:cubicBezTo>
                      <a:pt x="123343" y="383577"/>
                      <a:pt x="178590" y="363879"/>
                      <a:pt x="182089" y="342230"/>
                    </a:cubicBezTo>
                    <a:cubicBezTo>
                      <a:pt x="183539" y="333180"/>
                      <a:pt x="175740" y="317431"/>
                      <a:pt x="130392" y="293883"/>
                    </a:cubicBezTo>
                    <a:lnTo>
                      <a:pt x="109544" y="283033"/>
                    </a:lnTo>
                    <a:lnTo>
                      <a:pt x="132992" y="284483"/>
                    </a:lnTo>
                    <a:cubicBezTo>
                      <a:pt x="151441" y="285633"/>
                      <a:pt x="168240" y="286233"/>
                      <a:pt x="182939" y="286233"/>
                    </a:cubicBezTo>
                    <a:cubicBezTo>
                      <a:pt x="242336" y="286233"/>
                      <a:pt x="275884" y="276734"/>
                      <a:pt x="285483" y="257235"/>
                    </a:cubicBezTo>
                    <a:cubicBezTo>
                      <a:pt x="295933" y="236036"/>
                      <a:pt x="280284" y="198688"/>
                      <a:pt x="237636" y="143142"/>
                    </a:cubicBezTo>
                    <a:lnTo>
                      <a:pt x="224837" y="126443"/>
                    </a:lnTo>
                    <a:lnTo>
                      <a:pt x="243786" y="135642"/>
                    </a:lnTo>
                    <a:cubicBezTo>
                      <a:pt x="336930" y="180839"/>
                      <a:pt x="393727" y="201888"/>
                      <a:pt x="422475" y="201888"/>
                    </a:cubicBezTo>
                    <a:lnTo>
                      <a:pt x="422475" y="201888"/>
                    </a:lnTo>
                    <a:cubicBezTo>
                      <a:pt x="432175" y="201888"/>
                      <a:pt x="438324" y="199538"/>
                      <a:pt x="441174" y="194739"/>
                    </a:cubicBezTo>
                    <a:cubicBezTo>
                      <a:pt x="447374" y="184439"/>
                      <a:pt x="440974" y="161241"/>
                      <a:pt x="422175" y="125843"/>
                    </a:cubicBezTo>
                    <a:lnTo>
                      <a:pt x="412176" y="107044"/>
                    </a:lnTo>
                    <a:lnTo>
                      <a:pt x="429475" y="119493"/>
                    </a:lnTo>
                    <a:cubicBezTo>
                      <a:pt x="478372" y="154641"/>
                      <a:pt x="515020" y="171040"/>
                      <a:pt x="544718" y="171040"/>
                    </a:cubicBezTo>
                    <a:lnTo>
                      <a:pt x="544718" y="171040"/>
                    </a:lnTo>
                    <a:cubicBezTo>
                      <a:pt x="594015" y="171040"/>
                      <a:pt x="630763" y="125393"/>
                      <a:pt x="671661" y="13549"/>
                    </a:cubicBezTo>
                    <a:lnTo>
                      <a:pt x="676610" y="0"/>
                    </a:lnTo>
                    <a:lnTo>
                      <a:pt x="681060" y="13749"/>
                    </a:lnTo>
                    <a:cubicBezTo>
                      <a:pt x="713358" y="113493"/>
                      <a:pt x="746206" y="154191"/>
                      <a:pt x="794453" y="154191"/>
                    </a:cubicBezTo>
                    <a:cubicBezTo>
                      <a:pt x="826951" y="154191"/>
                      <a:pt x="869249" y="135092"/>
                      <a:pt x="927596" y="94144"/>
                    </a:cubicBezTo>
                    <a:lnTo>
                      <a:pt x="941695" y="84245"/>
                    </a:lnTo>
                    <a:lnTo>
                      <a:pt x="935045" y="100144"/>
                    </a:lnTo>
                    <a:cubicBezTo>
                      <a:pt x="915796" y="146041"/>
                      <a:pt x="911147" y="175390"/>
                      <a:pt x="920796" y="189889"/>
                    </a:cubicBezTo>
                    <a:cubicBezTo>
                      <a:pt x="926396" y="198238"/>
                      <a:pt x="937245" y="202338"/>
                      <a:pt x="954144" y="202338"/>
                    </a:cubicBezTo>
                    <a:cubicBezTo>
                      <a:pt x="984942" y="202338"/>
                      <a:pt x="1035689" y="188439"/>
                      <a:pt x="1113785" y="158591"/>
                    </a:cubicBezTo>
                    <a:lnTo>
                      <a:pt x="1132784" y="151341"/>
                    </a:lnTo>
                    <a:lnTo>
                      <a:pt x="1119284" y="166540"/>
                    </a:lnTo>
                    <a:cubicBezTo>
                      <a:pt x="1079337" y="211488"/>
                      <a:pt x="1063938" y="239986"/>
                      <a:pt x="1070787" y="256285"/>
                    </a:cubicBezTo>
                    <a:cubicBezTo>
                      <a:pt x="1081337" y="281233"/>
                      <a:pt x="1148633" y="284183"/>
                      <a:pt x="1241777" y="288233"/>
                    </a:cubicBezTo>
                    <a:lnTo>
                      <a:pt x="1270326" y="289483"/>
                    </a:lnTo>
                    <a:lnTo>
                      <a:pt x="1258426" y="297882"/>
                    </a:lnTo>
                    <a:cubicBezTo>
                      <a:pt x="1200830" y="338580"/>
                      <a:pt x="1172831" y="379678"/>
                      <a:pt x="1181581" y="410626"/>
                    </a:cubicBezTo>
                    <a:cubicBezTo>
                      <a:pt x="1191230" y="444774"/>
                      <a:pt x="1245927" y="466673"/>
                      <a:pt x="1335522" y="472322"/>
                    </a:cubicBezTo>
                    <a:lnTo>
                      <a:pt x="1379769" y="475122"/>
                    </a:lnTo>
                    <a:lnTo>
                      <a:pt x="1336022" y="482222"/>
                    </a:lnTo>
                    <a:cubicBezTo>
                      <a:pt x="1247277" y="496571"/>
                      <a:pt x="1195380" y="522269"/>
                      <a:pt x="1181781" y="558517"/>
                    </a:cubicBezTo>
                    <a:cubicBezTo>
                      <a:pt x="1171431" y="586165"/>
                      <a:pt x="1183331" y="620863"/>
                      <a:pt x="1217229" y="661661"/>
                    </a:cubicBezTo>
                    <a:lnTo>
                      <a:pt x="1223828" y="669561"/>
                    </a:lnTo>
                    <a:lnTo>
                      <a:pt x="1213529" y="669811"/>
                    </a:lnTo>
                    <a:cubicBezTo>
                      <a:pt x="1117384" y="672060"/>
                      <a:pt x="1063238" y="688459"/>
                      <a:pt x="1037889" y="722957"/>
                    </a:cubicBezTo>
                    <a:cubicBezTo>
                      <a:pt x="1015690" y="753206"/>
                      <a:pt x="1014641" y="799553"/>
                      <a:pt x="1034639" y="868849"/>
                    </a:cubicBezTo>
                    <a:lnTo>
                      <a:pt x="1037939" y="880298"/>
                    </a:lnTo>
                    <a:lnTo>
                      <a:pt x="1027490" y="874598"/>
                    </a:lnTo>
                    <a:cubicBezTo>
                      <a:pt x="942645" y="828501"/>
                      <a:pt x="885098" y="807952"/>
                      <a:pt x="840901" y="807952"/>
                    </a:cubicBezTo>
                    <a:cubicBezTo>
                      <a:pt x="786354" y="807952"/>
                      <a:pt x="749956" y="841100"/>
                      <a:pt x="722958" y="915396"/>
                    </a:cubicBezTo>
                    <a:lnTo>
                      <a:pt x="718758" y="926995"/>
                    </a:lnTo>
                    <a:lnTo>
                      <a:pt x="713758" y="915696"/>
                    </a:lnTo>
                    <a:cubicBezTo>
                      <a:pt x="688410" y="858499"/>
                      <a:pt x="664461" y="831851"/>
                      <a:pt x="638413" y="831851"/>
                    </a:cubicBezTo>
                    <a:cubicBezTo>
                      <a:pt x="607014" y="831851"/>
                      <a:pt x="568217" y="869299"/>
                      <a:pt x="512620" y="953344"/>
                    </a:cubicBezTo>
                    <a:lnTo>
                      <a:pt x="503520" y="967093"/>
                    </a:lnTo>
                    <a:close/>
                    <a:moveTo>
                      <a:pt x="438774" y="790153"/>
                    </a:moveTo>
                    <a:cubicBezTo>
                      <a:pt x="488221" y="790153"/>
                      <a:pt x="510820" y="833501"/>
                      <a:pt x="513120" y="934395"/>
                    </a:cubicBezTo>
                    <a:cubicBezTo>
                      <a:pt x="566767" y="855600"/>
                      <a:pt x="604565" y="821752"/>
                      <a:pt x="638313" y="821752"/>
                    </a:cubicBezTo>
                    <a:cubicBezTo>
                      <a:pt x="667361" y="821752"/>
                      <a:pt x="692109" y="846200"/>
                      <a:pt x="717808" y="900647"/>
                    </a:cubicBezTo>
                    <a:cubicBezTo>
                      <a:pt x="746056" y="829651"/>
                      <a:pt x="784354" y="797853"/>
                      <a:pt x="840851" y="797853"/>
                    </a:cubicBezTo>
                    <a:cubicBezTo>
                      <a:pt x="884948" y="797853"/>
                      <a:pt x="941095" y="817152"/>
                      <a:pt x="1021940" y="860199"/>
                    </a:cubicBezTo>
                    <a:cubicBezTo>
                      <a:pt x="1004391" y="793853"/>
                      <a:pt x="1006941" y="748156"/>
                      <a:pt x="1029890" y="716958"/>
                    </a:cubicBezTo>
                    <a:cubicBezTo>
                      <a:pt x="1056288" y="681010"/>
                      <a:pt x="1109935" y="663311"/>
                      <a:pt x="1203279" y="660061"/>
                    </a:cubicBezTo>
                    <a:cubicBezTo>
                      <a:pt x="1171831" y="619664"/>
                      <a:pt x="1161482" y="584316"/>
                      <a:pt x="1172481" y="554917"/>
                    </a:cubicBezTo>
                    <a:cubicBezTo>
                      <a:pt x="1185430" y="520369"/>
                      <a:pt x="1228128" y="494871"/>
                      <a:pt x="1299674" y="478922"/>
                    </a:cubicBezTo>
                    <a:cubicBezTo>
                      <a:pt x="1225528" y="469672"/>
                      <a:pt x="1181681" y="447224"/>
                      <a:pt x="1172031" y="413226"/>
                    </a:cubicBezTo>
                    <a:cubicBezTo>
                      <a:pt x="1162532" y="379728"/>
                      <a:pt x="1187030" y="339130"/>
                      <a:pt x="1241177" y="298032"/>
                    </a:cubicBezTo>
                    <a:cubicBezTo>
                      <a:pt x="1137283" y="293483"/>
                      <a:pt x="1074587" y="290733"/>
                      <a:pt x="1061588" y="260035"/>
                    </a:cubicBezTo>
                    <a:cubicBezTo>
                      <a:pt x="1053738" y="241436"/>
                      <a:pt x="1064938" y="215437"/>
                      <a:pt x="1098986" y="174640"/>
                    </a:cubicBezTo>
                    <a:cubicBezTo>
                      <a:pt x="1029140" y="200488"/>
                      <a:pt x="984042" y="212138"/>
                      <a:pt x="954094" y="212138"/>
                    </a:cubicBezTo>
                    <a:cubicBezTo>
                      <a:pt x="933645" y="212138"/>
                      <a:pt x="920046" y="206638"/>
                      <a:pt x="912496" y="195238"/>
                    </a:cubicBezTo>
                    <a:cubicBezTo>
                      <a:pt x="901997" y="179439"/>
                      <a:pt x="904247" y="152591"/>
                      <a:pt x="919746" y="111493"/>
                    </a:cubicBezTo>
                    <a:cubicBezTo>
                      <a:pt x="865949" y="147741"/>
                      <a:pt x="826902" y="164040"/>
                      <a:pt x="794453" y="164040"/>
                    </a:cubicBezTo>
                    <a:cubicBezTo>
                      <a:pt x="743406" y="164040"/>
                      <a:pt x="708608" y="125043"/>
                      <a:pt x="676060" y="30148"/>
                    </a:cubicBezTo>
                    <a:cubicBezTo>
                      <a:pt x="635363" y="136992"/>
                      <a:pt x="596865" y="180889"/>
                      <a:pt x="544718" y="180939"/>
                    </a:cubicBezTo>
                    <a:lnTo>
                      <a:pt x="544718" y="180939"/>
                    </a:lnTo>
                    <a:cubicBezTo>
                      <a:pt x="516270" y="180939"/>
                      <a:pt x="482622" y="167440"/>
                      <a:pt x="439724" y="138692"/>
                    </a:cubicBezTo>
                    <a:cubicBezTo>
                      <a:pt x="453573" y="168490"/>
                      <a:pt x="456723" y="188139"/>
                      <a:pt x="449674" y="199838"/>
                    </a:cubicBezTo>
                    <a:cubicBezTo>
                      <a:pt x="444924" y="207788"/>
                      <a:pt x="435724" y="211788"/>
                      <a:pt x="422425" y="211788"/>
                    </a:cubicBezTo>
                    <a:lnTo>
                      <a:pt x="422425" y="211788"/>
                    </a:lnTo>
                    <a:cubicBezTo>
                      <a:pt x="393727" y="211788"/>
                      <a:pt x="342530" y="193639"/>
                      <a:pt x="257635" y="153291"/>
                    </a:cubicBezTo>
                    <a:cubicBezTo>
                      <a:pt x="294533" y="204538"/>
                      <a:pt x="305832" y="238336"/>
                      <a:pt x="294383" y="261585"/>
                    </a:cubicBezTo>
                    <a:cubicBezTo>
                      <a:pt x="282783" y="285133"/>
                      <a:pt x="247335" y="296133"/>
                      <a:pt x="182889" y="296133"/>
                    </a:cubicBezTo>
                    <a:cubicBezTo>
                      <a:pt x="173890" y="296133"/>
                      <a:pt x="164090" y="295933"/>
                      <a:pt x="153641" y="295483"/>
                    </a:cubicBezTo>
                    <a:cubicBezTo>
                      <a:pt x="182089" y="312882"/>
                      <a:pt x="194339" y="328431"/>
                      <a:pt x="191889" y="343780"/>
                    </a:cubicBezTo>
                    <a:cubicBezTo>
                      <a:pt x="187689" y="369878"/>
                      <a:pt x="139692" y="389727"/>
                      <a:pt x="36798" y="407626"/>
                    </a:cubicBezTo>
                    <a:cubicBezTo>
                      <a:pt x="105594" y="436474"/>
                      <a:pt x="138142" y="462923"/>
                      <a:pt x="138842" y="490321"/>
                    </a:cubicBezTo>
                    <a:cubicBezTo>
                      <a:pt x="139442" y="512370"/>
                      <a:pt x="118943" y="533519"/>
                      <a:pt x="76296" y="554717"/>
                    </a:cubicBezTo>
                    <a:cubicBezTo>
                      <a:pt x="156191" y="577066"/>
                      <a:pt x="192239" y="598715"/>
                      <a:pt x="199638" y="628213"/>
                    </a:cubicBezTo>
                    <a:cubicBezTo>
                      <a:pt x="205738" y="652512"/>
                      <a:pt x="191239" y="681760"/>
                      <a:pt x="154141" y="719458"/>
                    </a:cubicBezTo>
                    <a:cubicBezTo>
                      <a:pt x="215037" y="703159"/>
                      <a:pt x="261885" y="695209"/>
                      <a:pt x="296833" y="695209"/>
                    </a:cubicBezTo>
                    <a:cubicBezTo>
                      <a:pt x="331781" y="695209"/>
                      <a:pt x="356779" y="704409"/>
                      <a:pt x="366428" y="722607"/>
                    </a:cubicBezTo>
                    <a:cubicBezTo>
                      <a:pt x="378028" y="744556"/>
                      <a:pt x="369628" y="778104"/>
                      <a:pt x="340630" y="824801"/>
                    </a:cubicBezTo>
                    <a:cubicBezTo>
                      <a:pt x="382728" y="801203"/>
                      <a:pt x="414226" y="790103"/>
                      <a:pt x="438824" y="790103"/>
                    </a:cubicBezTo>
                    <a:close/>
                  </a:path>
                </a:pathLst>
              </a:custGeom>
              <a:solidFill>
                <a:schemeClr val="accent6">
                  <a:lumMod val="50000"/>
                </a:schemeClr>
              </a:solidFill>
              <a:ln w="49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5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Arial" panose="020B0604020202020204" pitchFamily="34" charset="0"/>
                </a:endParaRP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6EE31AB2-47F9-6A4B-0CE2-76717C4ACEE3}"/>
                  </a:ext>
                </a:extLst>
              </p:cNvPr>
              <p:cNvGrpSpPr/>
              <p:nvPr/>
            </p:nvGrpSpPr>
            <p:grpSpPr>
              <a:xfrm rot="15264357">
                <a:off x="-1453887" y="882710"/>
                <a:ext cx="303957" cy="322273"/>
                <a:chOff x="3039155" y="27691"/>
                <a:chExt cx="300415" cy="318517"/>
              </a:xfrm>
            </p:grpSpPr>
            <p:sp>
              <p:nvSpPr>
                <p:cNvPr id="22" name="Free-form: Shape 196">
                  <a:extLst>
                    <a:ext uri="{FF2B5EF4-FFF2-40B4-BE49-F238E27FC236}">
                      <a16:creationId xmlns:a16="http://schemas.microsoft.com/office/drawing/2014/main" id="{FB7149F3-D4CC-FDBC-B2E2-27FCD78B19A9}"/>
                    </a:ext>
                  </a:extLst>
                </p:cNvPr>
                <p:cNvSpPr/>
                <p:nvPr/>
              </p:nvSpPr>
              <p:spPr>
                <a:xfrm>
                  <a:off x="3039155" y="34372"/>
                  <a:ext cx="300415" cy="311836"/>
                </a:xfrm>
                <a:custGeom>
                  <a:avLst/>
                  <a:gdLst>
                    <a:gd name="connsiteX0" fmla="*/ 267784 w 289283"/>
                    <a:gd name="connsiteY0" fmla="*/ 0 h 272983"/>
                    <a:gd name="connsiteX1" fmla="*/ 0 w 289283"/>
                    <a:gd name="connsiteY1" fmla="*/ 272984 h 272983"/>
                    <a:gd name="connsiteX2" fmla="*/ 289283 w 289283"/>
                    <a:gd name="connsiteY2" fmla="*/ 56647 h 272983"/>
                    <a:gd name="connsiteX3" fmla="*/ 267784 w 289283"/>
                    <a:gd name="connsiteY3" fmla="*/ 0 h 272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9283" h="272983">
                      <a:moveTo>
                        <a:pt x="267784" y="0"/>
                      </a:moveTo>
                      <a:lnTo>
                        <a:pt x="0" y="272984"/>
                      </a:lnTo>
                      <a:lnTo>
                        <a:pt x="289283" y="56647"/>
                      </a:lnTo>
                      <a:lnTo>
                        <a:pt x="267784" y="0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" name="Free-form: Shape 197">
                  <a:extLst>
                    <a:ext uri="{FF2B5EF4-FFF2-40B4-BE49-F238E27FC236}">
                      <a16:creationId xmlns:a16="http://schemas.microsoft.com/office/drawing/2014/main" id="{1F1D03E2-D0FE-5006-3CF1-1D0FAE0D9724}"/>
                    </a:ext>
                  </a:extLst>
                </p:cNvPr>
                <p:cNvSpPr/>
                <p:nvPr/>
              </p:nvSpPr>
              <p:spPr>
                <a:xfrm>
                  <a:off x="3112104" y="230442"/>
                  <a:ext cx="193457" cy="109771"/>
                </a:xfrm>
                <a:custGeom>
                  <a:avLst/>
                  <a:gdLst>
                    <a:gd name="connsiteX0" fmla="*/ 162791 w 186289"/>
                    <a:gd name="connsiteY0" fmla="*/ 0 h 96094"/>
                    <a:gd name="connsiteX1" fmla="*/ 0 w 186289"/>
                    <a:gd name="connsiteY1" fmla="*/ 96094 h 96094"/>
                    <a:gd name="connsiteX2" fmla="*/ 186289 w 186289"/>
                    <a:gd name="connsiteY2" fmla="*/ 31398 h 96094"/>
                    <a:gd name="connsiteX3" fmla="*/ 162791 w 186289"/>
                    <a:gd name="connsiteY3" fmla="*/ 0 h 96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6289" h="96094">
                      <a:moveTo>
                        <a:pt x="162791" y="0"/>
                      </a:moveTo>
                      <a:lnTo>
                        <a:pt x="0" y="96094"/>
                      </a:lnTo>
                      <a:lnTo>
                        <a:pt x="186289" y="31398"/>
                      </a:lnTo>
                      <a:lnTo>
                        <a:pt x="162791" y="0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" name="Free-form: Shape 198">
                  <a:extLst>
                    <a:ext uri="{FF2B5EF4-FFF2-40B4-BE49-F238E27FC236}">
                      <a16:creationId xmlns:a16="http://schemas.microsoft.com/office/drawing/2014/main" id="{FC83B9B0-6C9A-69E5-7A77-92D33445C243}"/>
                    </a:ext>
                  </a:extLst>
                </p:cNvPr>
                <p:cNvSpPr/>
                <p:nvPr/>
              </p:nvSpPr>
              <p:spPr>
                <a:xfrm>
                  <a:off x="3070101" y="27691"/>
                  <a:ext cx="139719" cy="223026"/>
                </a:xfrm>
                <a:custGeom>
                  <a:avLst/>
                  <a:gdLst>
                    <a:gd name="connsiteX0" fmla="*/ 0 w 134542"/>
                    <a:gd name="connsiteY0" fmla="*/ 195238 h 195238"/>
                    <a:gd name="connsiteX1" fmla="*/ 134542 w 134542"/>
                    <a:gd name="connsiteY1" fmla="*/ 7800 h 195238"/>
                    <a:gd name="connsiteX2" fmla="*/ 75946 w 134542"/>
                    <a:gd name="connsiteY2" fmla="*/ 0 h 195238"/>
                    <a:gd name="connsiteX3" fmla="*/ 0 w 134542"/>
                    <a:gd name="connsiteY3" fmla="*/ 195238 h 1952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4542" h="195238">
                      <a:moveTo>
                        <a:pt x="0" y="195238"/>
                      </a:moveTo>
                      <a:lnTo>
                        <a:pt x="134542" y="7800"/>
                      </a:lnTo>
                      <a:lnTo>
                        <a:pt x="75946" y="0"/>
                      </a:lnTo>
                      <a:lnTo>
                        <a:pt x="0" y="195238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61272FEE-AA81-B0F3-615C-45E8D2A9DC9C}"/>
                  </a:ext>
                </a:extLst>
              </p:cNvPr>
              <p:cNvGrpSpPr/>
              <p:nvPr/>
            </p:nvGrpSpPr>
            <p:grpSpPr>
              <a:xfrm rot="14503827">
                <a:off x="-29082" y="1415332"/>
                <a:ext cx="305322" cy="323664"/>
                <a:chOff x="1924360" y="1084054"/>
                <a:chExt cx="301764" cy="319890"/>
              </a:xfrm>
            </p:grpSpPr>
            <p:sp>
              <p:nvSpPr>
                <p:cNvPr id="19" name="Free-form: Shape 199">
                  <a:extLst>
                    <a:ext uri="{FF2B5EF4-FFF2-40B4-BE49-F238E27FC236}">
                      <a16:creationId xmlns:a16="http://schemas.microsoft.com/office/drawing/2014/main" id="{8B121E27-8A94-6441-8616-23A013964099}"/>
                    </a:ext>
                  </a:extLst>
                </p:cNvPr>
                <p:cNvSpPr/>
                <p:nvPr/>
              </p:nvSpPr>
              <p:spPr>
                <a:xfrm>
                  <a:off x="1924360" y="1084054"/>
                  <a:ext cx="301764" cy="313150"/>
                </a:xfrm>
                <a:custGeom>
                  <a:avLst/>
                  <a:gdLst>
                    <a:gd name="connsiteX0" fmla="*/ 21599 w 290582"/>
                    <a:gd name="connsiteY0" fmla="*/ 274134 h 274133"/>
                    <a:gd name="connsiteX1" fmla="*/ 290583 w 290582"/>
                    <a:gd name="connsiteY1" fmla="*/ 0 h 274133"/>
                    <a:gd name="connsiteX2" fmla="*/ 0 w 290582"/>
                    <a:gd name="connsiteY2" fmla="*/ 217287 h 274133"/>
                    <a:gd name="connsiteX3" fmla="*/ 21599 w 290582"/>
                    <a:gd name="connsiteY3" fmla="*/ 274134 h 274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582" h="274133">
                      <a:moveTo>
                        <a:pt x="21599" y="274134"/>
                      </a:moveTo>
                      <a:lnTo>
                        <a:pt x="290583" y="0"/>
                      </a:lnTo>
                      <a:lnTo>
                        <a:pt x="0" y="217287"/>
                      </a:lnTo>
                      <a:lnTo>
                        <a:pt x="21599" y="274134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" name="Free-form: Shape 200">
                  <a:extLst>
                    <a:ext uri="{FF2B5EF4-FFF2-40B4-BE49-F238E27FC236}">
                      <a16:creationId xmlns:a16="http://schemas.microsoft.com/office/drawing/2014/main" id="{F9F58285-7EB6-79F8-AD3B-58ED4ED6C9A0}"/>
                    </a:ext>
                  </a:extLst>
                </p:cNvPr>
                <p:cNvSpPr/>
                <p:nvPr/>
              </p:nvSpPr>
              <p:spPr>
                <a:xfrm>
                  <a:off x="1965118" y="1085825"/>
                  <a:ext cx="193457" cy="109771"/>
                </a:xfrm>
                <a:custGeom>
                  <a:avLst/>
                  <a:gdLst>
                    <a:gd name="connsiteX0" fmla="*/ 23499 w 186289"/>
                    <a:gd name="connsiteY0" fmla="*/ 96094 h 96094"/>
                    <a:gd name="connsiteX1" fmla="*/ 186289 w 186289"/>
                    <a:gd name="connsiteY1" fmla="*/ 0 h 96094"/>
                    <a:gd name="connsiteX2" fmla="*/ 0 w 186289"/>
                    <a:gd name="connsiteY2" fmla="*/ 64696 h 96094"/>
                    <a:gd name="connsiteX3" fmla="*/ 23499 w 186289"/>
                    <a:gd name="connsiteY3" fmla="*/ 96094 h 960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86289" h="96094">
                      <a:moveTo>
                        <a:pt x="23499" y="96094"/>
                      </a:moveTo>
                      <a:lnTo>
                        <a:pt x="186289" y="0"/>
                      </a:lnTo>
                      <a:lnTo>
                        <a:pt x="0" y="64696"/>
                      </a:lnTo>
                      <a:lnTo>
                        <a:pt x="23499" y="96094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" name="Free-form: Shape 201">
                  <a:extLst>
                    <a:ext uri="{FF2B5EF4-FFF2-40B4-BE49-F238E27FC236}">
                      <a16:creationId xmlns:a16="http://schemas.microsoft.com/office/drawing/2014/main" id="{275E9F8C-3BC3-8D81-257A-0AF0E19EC18B}"/>
                    </a:ext>
                  </a:extLst>
                </p:cNvPr>
                <p:cNvSpPr/>
                <p:nvPr/>
              </p:nvSpPr>
              <p:spPr>
                <a:xfrm>
                  <a:off x="2054734" y="1179947"/>
                  <a:ext cx="140290" cy="223997"/>
                </a:xfrm>
                <a:custGeom>
                  <a:avLst/>
                  <a:gdLst>
                    <a:gd name="connsiteX0" fmla="*/ 135092 w 135092"/>
                    <a:gd name="connsiteY0" fmla="*/ 0 h 196088"/>
                    <a:gd name="connsiteX1" fmla="*/ 0 w 135092"/>
                    <a:gd name="connsiteY1" fmla="*/ 188239 h 196088"/>
                    <a:gd name="connsiteX2" fmla="*/ 58797 w 135092"/>
                    <a:gd name="connsiteY2" fmla="*/ 196088 h 196088"/>
                    <a:gd name="connsiteX3" fmla="*/ 135092 w 135092"/>
                    <a:gd name="connsiteY3" fmla="*/ 0 h 196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5092" h="196088">
                      <a:moveTo>
                        <a:pt x="135092" y="0"/>
                      </a:moveTo>
                      <a:lnTo>
                        <a:pt x="0" y="188239"/>
                      </a:lnTo>
                      <a:lnTo>
                        <a:pt x="58797" y="196088"/>
                      </a:lnTo>
                      <a:lnTo>
                        <a:pt x="135092" y="0"/>
                      </a:lnTo>
                      <a:close/>
                    </a:path>
                  </a:pathLst>
                </a:custGeom>
                <a:solidFill>
                  <a:srgbClr val="ED7D31"/>
                </a:solidFill>
                <a:ln w="497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5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562FAA7-9360-B62E-74BB-D8028AE0037D}"/>
                </a:ext>
              </a:extLst>
            </p:cNvPr>
            <p:cNvSpPr txBox="1"/>
            <p:nvPr/>
          </p:nvSpPr>
          <p:spPr>
            <a:xfrm>
              <a:off x="-1161543" y="1091214"/>
              <a:ext cx="964242" cy="43308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rPr>
                <a:t>Innovation</a:t>
              </a:r>
              <a:b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</a:rPr>
                <a:t>or Region Choice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700953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C4C4C"/>
      </a:hlink>
      <a:folHlink>
        <a:srgbClr val="800080"/>
      </a:folHlink>
    </a:clrScheme>
    <a:fontScheme name="Custom 81">
      <a:majorFont>
        <a:latin typeface="Rockwell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6539E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B0F6E12098844AB01E03560BEEA277" ma:contentTypeVersion="15" ma:contentTypeDescription="Create a new document." ma:contentTypeScope="" ma:versionID="b7dc832d4de31c963afd8f9e3492b980">
  <xsd:schema xmlns:xsd="http://www.w3.org/2001/XMLSchema" xmlns:xs="http://www.w3.org/2001/XMLSchema" xmlns:p="http://schemas.microsoft.com/office/2006/metadata/properties" xmlns:ns2="d032c560-20c5-45db-8a2d-4a4e30c65462" xmlns:ns3="07cebedc-249a-4d4f-8455-e264d9e5327d" targetNamespace="http://schemas.microsoft.com/office/2006/metadata/properties" ma:root="true" ma:fieldsID="fb9eb2428c691d314d466948f95eb8b5" ns2:_="" ns3:_="">
    <xsd:import namespace="d032c560-20c5-45db-8a2d-4a4e30c65462"/>
    <xsd:import namespace="07cebedc-249a-4d4f-8455-e264d9e532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32c560-20c5-45db-8a2d-4a4e30c654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9ae8bc6-2808-436b-8758-b62c6fb37c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ebedc-249a-4d4f-8455-e264d9e5327d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dbff9786-ecfe-42ef-8ee5-d5a2bae8041f}" ma:internalName="TaxCatchAll" ma:showField="CatchAllData" ma:web="07cebedc-249a-4d4f-8455-e264d9e5327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032c560-20c5-45db-8a2d-4a4e30c65462">
      <Terms xmlns="http://schemas.microsoft.com/office/infopath/2007/PartnerControls"/>
    </lcf76f155ced4ddcb4097134ff3c332f>
    <TaxCatchAll xmlns="07cebedc-249a-4d4f-8455-e264d9e5327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D899FC0-7267-4741-A779-F9570E4C83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032c560-20c5-45db-8a2d-4a4e30c65462"/>
    <ds:schemaRef ds:uri="07cebedc-249a-4d4f-8455-e264d9e5327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696DE50-6EA0-470F-83C1-92BD050311AA}">
  <ds:schemaRefs>
    <ds:schemaRef ds:uri="http://purl.org/dc/elements/1.1/"/>
    <ds:schemaRef ds:uri="http://www.w3.org/XML/1998/namespace"/>
    <ds:schemaRef ds:uri="http://schemas.microsoft.com/office/infopath/2007/PartnerControls"/>
    <ds:schemaRef ds:uri="http://purl.org/dc/terms/"/>
    <ds:schemaRef ds:uri="07cebedc-249a-4d4f-8455-e264d9e5327d"/>
    <ds:schemaRef ds:uri="http://schemas.microsoft.com/office/2006/documentManagement/types"/>
    <ds:schemaRef ds:uri="d032c560-20c5-45db-8a2d-4a4e30c65462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21E4914-23E0-4F21-8D2E-AE7053624DB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</TotalTime>
  <Words>243</Words>
  <Application>Microsoft Office PowerPoint</Application>
  <PresentationFormat>Custom</PresentationFormat>
  <Paragraphs>21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Avenir Next LT Pro</vt:lpstr>
      <vt:lpstr>Calibri</vt:lpstr>
      <vt:lpstr>Rockwell</vt:lpstr>
      <vt:lpstr>Wingdings</vt:lpstr>
      <vt:lpstr>ZillaSlab-SemiBold</vt:lpstr>
      <vt:lpstr>1_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ER CHOICES with</dc:title>
  <dc:creator>Brill, Amanda {PEP}</dc:creator>
  <cp:lastModifiedBy>Brill, Amanda {PEP}</cp:lastModifiedBy>
  <cp:revision>6</cp:revision>
  <dcterms:created xsi:type="dcterms:W3CDTF">2023-03-15T14:14:43Z</dcterms:created>
  <dcterms:modified xsi:type="dcterms:W3CDTF">2024-12-19T17:1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07-05T00:00:00Z</vt:filetime>
  </property>
  <property fmtid="{D5CDD505-2E9C-101B-9397-08002B2CF9AE}" pid="3" name="Creator">
    <vt:lpwstr>Adobe InDesign CC 13.1 (Macintosh)</vt:lpwstr>
  </property>
  <property fmtid="{D5CDD505-2E9C-101B-9397-08002B2CF9AE}" pid="4" name="LastSaved">
    <vt:filetime>2023-03-15T00:00:00Z</vt:filetime>
  </property>
  <property fmtid="{D5CDD505-2E9C-101B-9397-08002B2CF9AE}" pid="5" name="Producer">
    <vt:lpwstr>Adobe PDF Library 15.0</vt:lpwstr>
  </property>
  <property fmtid="{D5CDD505-2E9C-101B-9397-08002B2CF9AE}" pid="6" name="ContentTypeId">
    <vt:lpwstr>0x010100E6B0F6E12098844AB01E03560BEEA277</vt:lpwstr>
  </property>
  <property fmtid="{D5CDD505-2E9C-101B-9397-08002B2CF9AE}" pid="7" name="MediaServiceImageTags">
    <vt:lpwstr/>
  </property>
</Properties>
</file>